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4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6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4143" r:id="rId4"/>
    <p:sldMasterId id="2147484194" r:id="rId5"/>
    <p:sldMasterId id="2147484222" r:id="rId6"/>
    <p:sldMasterId id="2147484266" r:id="rId7"/>
    <p:sldMasterId id="2147484294" r:id="rId8"/>
    <p:sldMasterId id="2147484312" r:id="rId9"/>
  </p:sldMasterIdLst>
  <p:notesMasterIdLst>
    <p:notesMasterId r:id="rId13"/>
  </p:notesMasterIdLst>
  <p:sldIdLst>
    <p:sldId id="690" r:id="rId10"/>
    <p:sldId id="691" r:id="rId11"/>
    <p:sldId id="692" r:id="rId12"/>
  </p:sldIdLst>
  <p:sldSz cx="12187238" cy="6859588"/>
  <p:notesSz cx="6858000" cy="9144000"/>
  <p:defaultTextStyle>
    <a:defPPr>
      <a:defRPr lang="de-DE"/>
    </a:defPPr>
    <a:lvl1pPr marL="0" algn="l" defTabSz="1114379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57190" algn="l" defTabSz="1114379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114379" algn="l" defTabSz="1114379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71569" algn="l" defTabSz="1114379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228759" algn="l" defTabSz="1114379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85948" algn="l" defTabSz="1114379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343138" algn="l" defTabSz="1114379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900327" algn="l" defTabSz="1114379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457517" algn="l" defTabSz="1114379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1367242F-85EE-4AF9-94CC-46D1B170A1EC}">
          <p14:sldIdLst>
            <p14:sldId id="690"/>
            <p14:sldId id="691"/>
            <p14:sldId id="69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7" userDrawn="1">
          <p15:clr>
            <a:srgbClr val="A4A3A4"/>
          </p15:clr>
        </p15:guide>
        <p15:guide id="2" pos="3839">
          <p15:clr>
            <a:srgbClr val="A4A3A4"/>
          </p15:clr>
        </p15:guide>
        <p15:guide id="3" orient="horz" pos="1457" userDrawn="1">
          <p15:clr>
            <a:srgbClr val="A4A3A4"/>
          </p15:clr>
        </p15:guide>
        <p15:guide id="4" pos="87" userDrawn="1">
          <p15:clr>
            <a:srgbClr val="A4A3A4"/>
          </p15:clr>
        </p15:guide>
        <p15:guide id="5" pos="7546" userDrawn="1">
          <p15:clr>
            <a:srgbClr val="A4A3A4"/>
          </p15:clr>
        </p15:guide>
        <p15:guide id="6" orient="horz" pos="1412" userDrawn="1">
          <p15:clr>
            <a:srgbClr val="A4A3A4"/>
          </p15:clr>
        </p15:guide>
        <p15:guide id="7" orient="horz" pos="410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00"/>
    <a:srgbClr val="80C3E3"/>
    <a:srgbClr val="9E4C87"/>
    <a:srgbClr val="557098"/>
    <a:srgbClr val="3D7CBF"/>
    <a:srgbClr val="582A8F"/>
    <a:srgbClr val="80C5E5"/>
    <a:srgbClr val="80C7E7"/>
    <a:srgbClr val="00BCF2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969" autoAdjust="0"/>
    <p:restoredTop sz="96287" autoAdjust="0"/>
  </p:normalViewPr>
  <p:slideViewPr>
    <p:cSldViewPr snapToGrid="0">
      <p:cViewPr varScale="1">
        <p:scale>
          <a:sx n="112" d="100"/>
          <a:sy n="112" d="100"/>
        </p:scale>
        <p:origin x="114" y="114"/>
      </p:cViewPr>
      <p:guideLst>
        <p:guide orient="horz" pos="97"/>
        <p:guide pos="3839"/>
        <p:guide orient="horz" pos="1457"/>
        <p:guide pos="87"/>
        <p:guide pos="7546"/>
        <p:guide orient="horz" pos="1412"/>
        <p:guide orient="horz" pos="410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" d="1"/>
        <a:sy n="1" d="1"/>
      </p:scale>
      <p:origin x="0" y="-12600"/>
    </p:cViewPr>
  </p:sorterViewPr>
  <p:notesViewPr>
    <p:cSldViewPr snapToGrid="0">
      <p:cViewPr varScale="1">
        <p:scale>
          <a:sx n="45" d="100"/>
          <a:sy n="45" d="100"/>
        </p:scale>
        <p:origin x="2000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DFBC34-774E-4925-98A1-D7BD0CAF0D1E}" type="datetimeFigureOut">
              <a:rPr lang="de-DE" smtClean="0"/>
              <a:t>18.04.2018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4175" y="685800"/>
            <a:ext cx="60896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73B6E8-C68D-44A7-8012-B4D6B230EF2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4109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114379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557190" algn="l" defTabSz="1114379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1114379" algn="l" defTabSz="1114379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671569" algn="l" defTabSz="1114379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2228759" algn="l" defTabSz="1114379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2785948" algn="l" defTabSz="1114379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343138" algn="l" defTabSz="1114379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3900327" algn="l" defTabSz="1114379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457517" algn="l" defTabSz="1114379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75063" y="850900"/>
            <a:ext cx="2992437" cy="1684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321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For Phase two we need to look at opening up things like cognitive services to return “user impressions” or demographics.</a:t>
            </a:r>
            <a:r>
              <a:rPr lang="en-US" baseline="0" dirty="0"/>
              <a:t> Can we make dynamic content pushing based on local events or the demographics. Can we tie what content is being showed to increases in sales etc.</a:t>
            </a:r>
          </a:p>
          <a:p>
            <a:pPr marL="0" marR="0" lvl="0" indent="0" algn="l" defTabSz="9321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endParaRPr lang="en-US" baseline="0" dirty="0"/>
          </a:p>
          <a:p>
            <a:pPr marL="0" marR="0" lvl="0" indent="0" algn="l" defTabSz="9321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Potentially add voice communication capabilities with Cortana/Lui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0F7949-8AE9-4E5C-A2B1-913685B47E3F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1723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73B6E8-C68D-44A7-8012-B4D6B230EF26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18007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73B6E8-C68D-44A7-8012-B4D6B230EF26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27347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17.emf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tags" Target="../tags/tag13.xml"/><Relationship Id="rId11" Type="http://schemas.openxmlformats.org/officeDocument/2006/relationships/oleObject" Target="../embeddings/oleObject3.bin"/><Relationship Id="rId5" Type="http://schemas.openxmlformats.org/officeDocument/2006/relationships/tags" Target="../tags/tag12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11.xml"/><Relationship Id="rId9" Type="http://schemas.openxmlformats.org/officeDocument/2006/relationships/tags" Target="../tags/tag16.xml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21.xml"/><Relationship Id="rId7" Type="http://schemas.openxmlformats.org/officeDocument/2006/relationships/oleObject" Target="../embeddings/oleObject5.bin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23.xml"/><Relationship Id="rId10" Type="http://schemas.microsoft.com/office/2007/relationships/hdphoto" Target="../media/hdphoto1.wdp"/><Relationship Id="rId4" Type="http://schemas.openxmlformats.org/officeDocument/2006/relationships/tags" Target="../tags/tag22.xml"/><Relationship Id="rId9" Type="http://schemas.openxmlformats.org/officeDocument/2006/relationships/image" Target="../media/image47.png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25.xml"/><Relationship Id="rId7" Type="http://schemas.openxmlformats.org/officeDocument/2006/relationships/oleObject" Target="../embeddings/oleObject6.bin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27.xml"/><Relationship Id="rId10" Type="http://schemas.microsoft.com/office/2007/relationships/hdphoto" Target="../media/hdphoto1.wdp"/><Relationship Id="rId4" Type="http://schemas.openxmlformats.org/officeDocument/2006/relationships/tags" Target="../tags/tag26.xml"/><Relationship Id="rId9" Type="http://schemas.openxmlformats.org/officeDocument/2006/relationships/image" Target="../media/image47.png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29.xml"/><Relationship Id="rId7" Type="http://schemas.openxmlformats.org/officeDocument/2006/relationships/oleObject" Target="../embeddings/oleObject7.bin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31.xml"/><Relationship Id="rId10" Type="http://schemas.microsoft.com/office/2007/relationships/hdphoto" Target="../media/hdphoto1.wdp"/><Relationship Id="rId4" Type="http://schemas.openxmlformats.org/officeDocument/2006/relationships/tags" Target="../tags/tag30.xml"/><Relationship Id="rId9" Type="http://schemas.openxmlformats.org/officeDocument/2006/relationships/image" Target="../media/image47.png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33.xml"/><Relationship Id="rId7" Type="http://schemas.openxmlformats.org/officeDocument/2006/relationships/oleObject" Target="../embeddings/oleObject8.bin"/><Relationship Id="rId2" Type="http://schemas.openxmlformats.org/officeDocument/2006/relationships/tags" Target="../tags/tag32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35.xml"/><Relationship Id="rId10" Type="http://schemas.microsoft.com/office/2007/relationships/hdphoto" Target="../media/hdphoto1.wdp"/><Relationship Id="rId4" Type="http://schemas.openxmlformats.org/officeDocument/2006/relationships/tags" Target="../tags/tag34.xml"/><Relationship Id="rId9" Type="http://schemas.openxmlformats.org/officeDocument/2006/relationships/image" Target="../media/image47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37.xml"/><Relationship Id="rId7" Type="http://schemas.openxmlformats.org/officeDocument/2006/relationships/oleObject" Target="../embeddings/oleObject9.bin"/><Relationship Id="rId2" Type="http://schemas.openxmlformats.org/officeDocument/2006/relationships/tags" Target="../tags/tag36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39.xml"/><Relationship Id="rId10" Type="http://schemas.microsoft.com/office/2007/relationships/hdphoto" Target="../media/hdphoto1.wdp"/><Relationship Id="rId4" Type="http://schemas.openxmlformats.org/officeDocument/2006/relationships/tags" Target="../tags/tag38.xml"/><Relationship Id="rId9" Type="http://schemas.openxmlformats.org/officeDocument/2006/relationships/image" Target="../media/image47.pn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0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1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2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3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4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17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2" Type="http://schemas.openxmlformats.org/officeDocument/2006/relationships/image" Target="../media/image21.png"/><Relationship Id="rId16" Type="http://schemas.openxmlformats.org/officeDocument/2006/relationships/image" Target="../media/image3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5" Type="http://schemas.openxmlformats.org/officeDocument/2006/relationships/image" Target="../media/image3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Relationship Id="rId14" Type="http://schemas.openxmlformats.org/officeDocument/2006/relationships/image" Target="../media/image33.png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36.png"/><Relationship Id="rId7" Type="http://schemas.openxmlformats.org/officeDocument/2006/relationships/image" Target="../media/image30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7.png"/><Relationship Id="rId5" Type="http://schemas.openxmlformats.org/officeDocument/2006/relationships/image" Target="../media/image24.png"/><Relationship Id="rId10" Type="http://schemas.openxmlformats.org/officeDocument/2006/relationships/image" Target="../media/image33.png"/><Relationship Id="rId4" Type="http://schemas.openxmlformats.org/officeDocument/2006/relationships/image" Target="../media/image23.png"/><Relationship Id="rId9" Type="http://schemas.openxmlformats.org/officeDocument/2006/relationships/image" Target="../media/image32.pn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4.pn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ltGray">
          <a:xfrm>
            <a:off x="269134" y="2084655"/>
            <a:ext cx="8960747" cy="358703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5" tIns="143372" rIns="179215" bIns="1433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197" y="2084670"/>
            <a:ext cx="8960684" cy="1793505"/>
          </a:xfrm>
          <a:noFill/>
        </p:spPr>
        <p:txBody>
          <a:bodyPr lIns="146304" tIns="91440" rIns="146304" bIns="91440" anchor="t" anchorCtr="0"/>
          <a:lstStyle>
            <a:lvl1pPr>
              <a:defRPr sz="588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9643" y="471233"/>
            <a:ext cx="2506488" cy="53733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196" y="3879472"/>
            <a:ext cx="8960685" cy="179274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9229881" y="348726"/>
            <a:ext cx="2688224" cy="506898"/>
          </a:xfrm>
        </p:spPr>
        <p:txBody>
          <a:bodyPr/>
          <a:lstStyle>
            <a:lvl1pPr marL="0" indent="0" algn="r">
              <a:buNone/>
              <a:defRPr sz="2352"/>
            </a:lvl1pPr>
          </a:lstStyle>
          <a:p>
            <a:pPr lvl="0"/>
            <a:r>
              <a:rPr lang="en-US" dirty="0"/>
              <a:t>Session Code</a:t>
            </a:r>
          </a:p>
        </p:txBody>
      </p:sp>
    </p:spTree>
    <p:extLst>
      <p:ext uri="{BB962C8B-B14F-4D97-AF65-F5344CB8AC3E}">
        <p14:creationId xmlns:p14="http://schemas.microsoft.com/office/powerpoint/2010/main" val="2802317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">
          <p15:clr>
            <a:srgbClr val="C35EA4"/>
          </p15:clr>
        </p15:guide>
        <p15:guide id="2" pos="7546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orient="horz" pos="4104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34" y="2084655"/>
            <a:ext cx="11648971" cy="1796633"/>
          </a:xfrm>
          <a:noFill/>
        </p:spPr>
        <p:txBody>
          <a:bodyPr tIns="91440" bIns="91440" anchor="t" anchorCtr="0"/>
          <a:lstStyle>
            <a:lvl1pPr>
              <a:defRPr sz="862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995556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, Video etc.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73013" y="4344408"/>
            <a:ext cx="10236453" cy="461772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lang="en-US" sz="3599" kern="1200" spc="-71" baseline="0" dirty="0">
                <a:gradFill>
                  <a:gsLst>
                    <a:gs pos="2083">
                      <a:schemeClr val="bg2"/>
                    </a:gs>
                    <a:gs pos="99000">
                      <a:schemeClr val="bg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265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73012" y="2740314"/>
            <a:ext cx="10244391" cy="1378963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>
              <a:spcBef>
                <a:spcPts val="0"/>
              </a:spcBef>
              <a:buFont typeface="Arial" pitchFamily="34" charset="0"/>
              <a:buNone/>
              <a:defRPr lang="en-US" sz="9596" b="0" kern="1200" cap="none" spc="-399" baseline="0" dirty="0" smtClean="0">
                <a:ln w="3175">
                  <a:noFill/>
                </a:ln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pPr lvl="0"/>
            <a:r>
              <a:rPr lang="en-US" dirty="0"/>
              <a:t>click to…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73013" y="1448135"/>
            <a:ext cx="10236453" cy="914308"/>
          </a:xfrm>
        </p:spPr>
        <p:txBody>
          <a:bodyPr wrap="square" anchor="b">
            <a:noAutofit/>
          </a:bodyPr>
          <a:lstStyle>
            <a:lvl1pPr marL="0" indent="0">
              <a:buNone/>
              <a:defRPr sz="6697" spc="-1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7603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, 2-color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047" y="1448136"/>
            <a:ext cx="11147561" cy="197638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395"/>
              </a:spcBef>
              <a:buNone/>
              <a:defRPr sz="3998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1999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2pPr>
            <a:lvl3pPr marL="231341" indent="0">
              <a:buNone/>
              <a:defRPr sz="1999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3pPr>
            <a:lvl4pPr marL="456347" indent="0">
              <a:buNone/>
              <a:defRPr sz="1999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4pPr>
            <a:lvl5pPr marL="692444" indent="0">
              <a:buNone/>
              <a:defRPr sz="1999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633" y="6401039"/>
            <a:ext cx="560613" cy="219507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599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4034"/>
            <a:fld id="{FA4A93B8-B23A-4F35-A6A2-2F1F9227CD90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4034"/>
              <a:t>‹#›</a:t>
            </a:fld>
            <a:endParaRPr lang="en-US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5641" y="6167846"/>
            <a:ext cx="1422570" cy="523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12302837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047" y="1448136"/>
            <a:ext cx="11147561" cy="197638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395"/>
              </a:spcBef>
              <a:buNone/>
              <a:defRPr sz="3998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1999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2pPr>
            <a:lvl3pPr marL="231341" indent="0">
              <a:buNone/>
              <a:defRPr sz="1999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3pPr>
            <a:lvl4pPr marL="456347" indent="0">
              <a:buNone/>
              <a:defRPr sz="1999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4pPr>
            <a:lvl5pPr marL="692444" indent="0">
              <a:buNone/>
              <a:defRPr sz="1999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633" y="6401039"/>
            <a:ext cx="560613" cy="219507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599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4034"/>
            <a:fld id="{FA4A93B8-B23A-4F35-A6A2-2F1F9227CD90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4034"/>
              <a:t>‹#›</a:t>
            </a:fld>
            <a:endParaRPr lang="en-US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5641" y="6167846"/>
            <a:ext cx="1422570" cy="523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12403143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047" y="228656"/>
            <a:ext cx="11147561" cy="748070"/>
          </a:xfrm>
        </p:spPr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047" y="1448134"/>
            <a:ext cx="11147561" cy="2044109"/>
          </a:xfrm>
          <a:prstGeom prst="rect">
            <a:avLst/>
          </a:prstGeom>
        </p:spPr>
        <p:txBody>
          <a:bodyPr/>
          <a:lstStyle>
            <a:lvl1pPr marL="283634" indent="-283634">
              <a:buFont typeface="Wingdings" pitchFamily="2" charset="2"/>
              <a:buChar char=""/>
              <a:defRPr sz="3998"/>
            </a:lvl1pPr>
            <a:lvl2pPr marL="516560" indent="-232928">
              <a:buFont typeface="Wingdings" pitchFamily="2" charset="2"/>
              <a:buChar char=""/>
              <a:defRPr>
                <a:latin typeface="+mn-lt"/>
              </a:defRPr>
            </a:lvl2pPr>
            <a:lvl3pPr marL="739979" indent="-223421">
              <a:buFont typeface="Wingdings" pitchFamily="2" charset="2"/>
              <a:buChar char=""/>
              <a:tabLst/>
              <a:defRPr>
                <a:latin typeface="+mn-lt"/>
              </a:defRPr>
            </a:lvl3pPr>
            <a:lvl4pPr marL="912693" indent="-172715">
              <a:buFont typeface="Wingdings" pitchFamily="2" charset="2"/>
              <a:buChar char=""/>
              <a:defRPr>
                <a:latin typeface="+mn-lt"/>
              </a:defRPr>
            </a:lvl4pPr>
            <a:lvl5pPr marL="1085409" indent="-172715">
              <a:buFont typeface="Wingdings" pitchFamily="2" charset="2"/>
              <a:buChar char=""/>
              <a:tabLst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633" y="6401039"/>
            <a:ext cx="560613" cy="219507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599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4034"/>
            <a:fld id="{FA4A93B8-B23A-4F35-A6A2-2F1F9227CD90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4034"/>
              <a:t>‹#›</a:t>
            </a:fld>
            <a:endParaRPr lang="en-US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5641" y="6167846"/>
            <a:ext cx="1422570" cy="523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8215484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2-Content, 2-color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20634" y="1448137"/>
            <a:ext cx="5394257" cy="2462783"/>
          </a:xfrm>
        </p:spPr>
        <p:txBody>
          <a:bodyPr/>
          <a:lstStyle>
            <a:lvl1pPr marL="0" indent="0">
              <a:spcBef>
                <a:spcPts val="1198"/>
              </a:spcBef>
              <a:buNone/>
              <a:defRPr sz="3998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1999"/>
            </a:lvl2pPr>
            <a:lvl3pPr marL="232928" indent="0">
              <a:buNone/>
              <a:defRPr sz="1999"/>
            </a:lvl3pPr>
            <a:lvl4pPr marL="456347" indent="0">
              <a:buNone/>
              <a:defRPr sz="1999"/>
            </a:lvl4pPr>
            <a:lvl5pPr marL="692444" indent="0">
              <a:buNone/>
              <a:defRPr sz="19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77112" y="1448137"/>
            <a:ext cx="5394257" cy="2462783"/>
          </a:xfrm>
        </p:spPr>
        <p:txBody>
          <a:bodyPr/>
          <a:lstStyle>
            <a:lvl1pPr marL="0" indent="0">
              <a:spcBef>
                <a:spcPts val="1198"/>
              </a:spcBef>
              <a:buNone/>
              <a:defRPr lang="en-US" sz="3998" kern="1200" spc="-71" baseline="0" dirty="0" smtClean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3170" marR="0" indent="0" algn="l" defTabSz="91265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99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32928" marR="0" indent="0" algn="l" defTabSz="91265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99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59515" marR="0" indent="0" algn="l" defTabSz="91265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99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686105" marR="0" indent="0" algn="l" defTabSz="91265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99" kern="1200" spc="-71" baseline="0" dirty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265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  <a:p>
            <a:pPr marL="0" marR="0" lvl="1" indent="0" algn="l" defTabSz="91265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Second level</a:t>
            </a:r>
          </a:p>
          <a:p>
            <a:pPr marL="0" marR="0" lvl="2" indent="0" algn="l" defTabSz="91265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Third level</a:t>
            </a:r>
          </a:p>
          <a:p>
            <a:pPr marL="0" marR="0" lvl="3" indent="0" algn="l" defTabSz="91265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ourth level</a:t>
            </a:r>
          </a:p>
          <a:p>
            <a:pPr marL="0" marR="0" lvl="4" indent="0" algn="l" defTabSz="91265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3"/>
          </p:nvPr>
        </p:nvSpPr>
        <p:spPr>
          <a:xfrm>
            <a:off x="520633" y="6401039"/>
            <a:ext cx="560613" cy="219507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599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4034"/>
            <a:fld id="{FA4A93B8-B23A-4F35-A6A2-2F1F9227CD90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4034"/>
              <a:t>‹#›</a:t>
            </a:fld>
            <a:endParaRPr lang="en-US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5641" y="6167846"/>
            <a:ext cx="1422570" cy="523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9391767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2-Content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20634" y="1448137"/>
            <a:ext cx="5394257" cy="2462783"/>
          </a:xfrm>
        </p:spPr>
        <p:txBody>
          <a:bodyPr/>
          <a:lstStyle>
            <a:lvl1pPr marL="0" indent="0">
              <a:spcBef>
                <a:spcPts val="1198"/>
              </a:spcBef>
              <a:buNone/>
              <a:defRPr sz="3998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1999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</a:defRPr>
            </a:lvl2pPr>
            <a:lvl3pPr marL="232928" indent="0">
              <a:buNone/>
              <a:defRPr sz="1999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</a:defRPr>
            </a:lvl3pPr>
            <a:lvl4pPr marL="456347" indent="0">
              <a:buNone/>
              <a:defRPr sz="1999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</a:defRPr>
            </a:lvl4pPr>
            <a:lvl5pPr marL="692444" indent="0">
              <a:buNone/>
              <a:defRPr sz="1999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77112" y="1448137"/>
            <a:ext cx="5394257" cy="2462783"/>
          </a:xfrm>
        </p:spPr>
        <p:txBody>
          <a:bodyPr/>
          <a:lstStyle>
            <a:lvl1pPr marL="0" indent="0">
              <a:spcBef>
                <a:spcPts val="1198"/>
              </a:spcBef>
              <a:buNone/>
              <a:defRPr lang="en-US" sz="3998" kern="1200" spc="-71" baseline="0" dirty="0" smtClean="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3170" marR="0" indent="0" algn="l" defTabSz="91265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99" kern="1200" spc="-71" baseline="0" dirty="0" smtClean="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32928" marR="0" indent="0" algn="l" defTabSz="91265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99" kern="1200" spc="-71" baseline="0" dirty="0" smtClean="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59515" marR="0" indent="0" algn="l" defTabSz="91265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99" kern="1200" spc="-71" baseline="0" dirty="0" smtClean="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686105" marR="0" indent="0" algn="l" defTabSz="91265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999" kern="1200" spc="-71" baseline="0" dirty="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265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  <a:p>
            <a:pPr marL="0" marR="0" lvl="1" indent="0" algn="l" defTabSz="91265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Second level</a:t>
            </a:r>
          </a:p>
          <a:p>
            <a:pPr marL="0" marR="0" lvl="2" indent="0" algn="l" defTabSz="91265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Third level</a:t>
            </a:r>
          </a:p>
          <a:p>
            <a:pPr marL="0" marR="0" lvl="3" indent="0" algn="l" defTabSz="91265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ourth level</a:t>
            </a:r>
          </a:p>
          <a:p>
            <a:pPr marL="0" marR="0" lvl="4" indent="0" algn="l" defTabSz="91265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3"/>
          </p:nvPr>
        </p:nvSpPr>
        <p:spPr>
          <a:xfrm>
            <a:off x="520633" y="6401039"/>
            <a:ext cx="560613" cy="219507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599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4034"/>
            <a:fld id="{FA4A93B8-B23A-4F35-A6A2-2F1F9227CD90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4034"/>
              <a:t>‹#›</a:t>
            </a:fld>
            <a:endParaRPr lang="en-US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5641" y="6167846"/>
            <a:ext cx="1422570" cy="523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48782223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2-Content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0634" y="1448137"/>
            <a:ext cx="5394257" cy="2351957"/>
          </a:xfrm>
        </p:spPr>
        <p:txBody>
          <a:bodyPr>
            <a:spAutoFit/>
          </a:bodyPr>
          <a:lstStyle>
            <a:lvl1pPr marL="291554" indent="-291554">
              <a:spcBef>
                <a:spcPts val="1198"/>
              </a:spcBef>
              <a:buClr>
                <a:schemeClr val="bg2"/>
              </a:buClr>
              <a:buSzPct val="100000"/>
              <a:buFont typeface="Wingdings" pitchFamily="2" charset="2"/>
              <a:buChar char=""/>
              <a:defRPr lang="en-US" sz="3599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19728" indent="-228174">
              <a:defRPr sz="1999"/>
            </a:lvl2pPr>
            <a:lvl3pPr marL="684521" indent="-164792">
              <a:tabLst/>
              <a:defRPr sz="1999"/>
            </a:lvl3pPr>
            <a:lvl4pPr marL="861988" indent="-177468">
              <a:defRPr/>
            </a:lvl4pPr>
            <a:lvl5pPr marL="1026780" indent="-164792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277112" y="1448138"/>
            <a:ext cx="5394257" cy="2721375"/>
          </a:xfrm>
        </p:spPr>
        <p:txBody>
          <a:bodyPr>
            <a:spAutoFit/>
          </a:bodyPr>
          <a:lstStyle>
            <a:lvl1pPr marL="339091" indent="-339091">
              <a:spcBef>
                <a:spcPts val="1198"/>
              </a:spcBef>
              <a:buClr>
                <a:schemeClr val="bg2"/>
              </a:buClr>
              <a:buFont typeface="Arial" pitchFamily="34" charset="0"/>
              <a:buChar char="•"/>
              <a:defRPr lang="en-US" sz="3599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633815" indent="-342260">
              <a:defRPr lang="en-US" sz="1999" kern="1200" spc="0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61988" indent="-342260">
              <a:defRPr lang="en-US" sz="1999" kern="1200" spc="0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6780" indent="-342260">
              <a:defRPr lang="en-US" sz="1999" kern="1200" spc="0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04249" indent="-342260">
              <a:defRPr lang="en-US" sz="1999" kern="1200" spc="0" baseline="0" dirty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91554" marR="0" lvl="0" indent="-291554" algn="l" defTabSz="912657" rtl="0" eaLnBrk="1" fontAlgn="auto" latinLnBrk="0" hangingPunct="1">
              <a:lnSpc>
                <a:spcPct val="90000"/>
              </a:lnSpc>
              <a:spcBef>
                <a:spcPts val="1198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Click to edit Master text styles</a:t>
            </a:r>
          </a:p>
          <a:p>
            <a:pPr marL="291554" marR="0" lvl="1" indent="-291554" algn="l" defTabSz="912657" rtl="0" eaLnBrk="1" fontAlgn="auto" latinLnBrk="0" hangingPunct="1">
              <a:lnSpc>
                <a:spcPct val="90000"/>
              </a:lnSpc>
              <a:spcBef>
                <a:spcPts val="1198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91554" marR="0" lvl="2" indent="-291554" algn="l" defTabSz="912657" rtl="0" eaLnBrk="1" fontAlgn="auto" latinLnBrk="0" hangingPunct="1">
              <a:lnSpc>
                <a:spcPct val="90000"/>
              </a:lnSpc>
              <a:spcBef>
                <a:spcPts val="1198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91554" marR="0" lvl="3" indent="-291554" algn="l" defTabSz="912657" rtl="0" eaLnBrk="1" fontAlgn="auto" latinLnBrk="0" hangingPunct="1">
              <a:lnSpc>
                <a:spcPct val="90000"/>
              </a:lnSpc>
              <a:spcBef>
                <a:spcPts val="1198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91554" marR="0" lvl="4" indent="-291554" algn="l" defTabSz="912657" rtl="0" eaLnBrk="1" fontAlgn="auto" latinLnBrk="0" hangingPunct="1">
              <a:lnSpc>
                <a:spcPct val="90000"/>
              </a:lnSpc>
              <a:spcBef>
                <a:spcPts val="1198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633" y="6401039"/>
            <a:ext cx="560613" cy="219507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599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4034"/>
            <a:fld id="{FA4A93B8-B23A-4F35-A6A2-2F1F9227CD90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4034"/>
              <a:t>‹#›</a:t>
            </a:fld>
            <a:endParaRPr lang="en-US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5641" y="6167846"/>
            <a:ext cx="1422570" cy="523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08048715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&amp; Small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20632" y="1448138"/>
            <a:ext cx="5432825" cy="16623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998" b="0" cap="none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608356" indent="0">
              <a:buNone/>
              <a:defRPr sz="2699" b="1"/>
            </a:lvl2pPr>
            <a:lvl3pPr marL="1216712" indent="0">
              <a:buNone/>
              <a:defRPr sz="2399" b="1"/>
            </a:lvl3pPr>
            <a:lvl4pPr marL="1825068" indent="0">
              <a:buNone/>
              <a:defRPr sz="2099" b="1"/>
            </a:lvl4pPr>
            <a:lvl5pPr marL="2433423" indent="0">
              <a:buNone/>
              <a:defRPr sz="2099" b="1"/>
            </a:lvl5pPr>
            <a:lvl6pPr marL="3041780" indent="0">
              <a:buNone/>
              <a:defRPr sz="2099" b="1"/>
            </a:lvl6pPr>
            <a:lvl7pPr marL="3650135" indent="0">
              <a:buNone/>
              <a:defRPr sz="2099" b="1"/>
            </a:lvl7pPr>
            <a:lvl8pPr marL="4258490" indent="0">
              <a:buNone/>
              <a:defRPr sz="2099" b="1"/>
            </a:lvl8pPr>
            <a:lvl9pPr marL="4866847" indent="0">
              <a:buNone/>
              <a:defRPr sz="2099" b="1"/>
            </a:lvl9pPr>
          </a:lstStyle>
          <a:p>
            <a:pPr lvl="0"/>
            <a:r>
              <a:rPr lang="en-US" dirty="0"/>
              <a:t>Click to edit Master text styles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87345" y="1682297"/>
            <a:ext cx="5484026" cy="3324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1198"/>
              </a:spcBef>
              <a:buNone/>
              <a:defRPr lang="en-US" sz="1999" kern="1200" spc="0" dirty="0" smtClean="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1pPr>
            <a:lvl2pPr marL="912533" indent="-380222">
              <a:defRPr lang="en-US" sz="2099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912533" indent="-228134">
              <a:defRPr lang="en-US" sz="1899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16712" indent="-228134">
              <a:defRPr lang="en-US" sz="1599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444846" indent="-228134">
              <a:defRPr lang="en-US" sz="1599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633" y="6401039"/>
            <a:ext cx="560613" cy="219507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599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4034"/>
            <a:fld id="{FA4A93B8-B23A-4F35-A6A2-2F1F9227CD90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4034"/>
              <a:t>‹#›</a:t>
            </a:fld>
            <a:endParaRPr lang="en-US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5641" y="6167846"/>
            <a:ext cx="1422570" cy="523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7552456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/Photo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20632" y="1448138"/>
            <a:ext cx="5432825" cy="117871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998" b="0" cap="none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608356" indent="0">
              <a:buNone/>
              <a:defRPr sz="2699" b="1"/>
            </a:lvl2pPr>
            <a:lvl3pPr marL="1216712" indent="0">
              <a:buNone/>
              <a:defRPr sz="2399" b="1"/>
            </a:lvl3pPr>
            <a:lvl4pPr marL="1825068" indent="0">
              <a:buNone/>
              <a:defRPr sz="2099" b="1"/>
            </a:lvl4pPr>
            <a:lvl5pPr marL="2433423" indent="0">
              <a:buNone/>
              <a:defRPr sz="2099" b="1"/>
            </a:lvl5pPr>
            <a:lvl6pPr marL="3041780" indent="0">
              <a:buNone/>
              <a:defRPr sz="2099" b="1"/>
            </a:lvl6pPr>
            <a:lvl7pPr marL="3650135" indent="0">
              <a:buNone/>
              <a:defRPr sz="2099" b="1"/>
            </a:lvl7pPr>
            <a:lvl8pPr marL="4258490" indent="0">
              <a:buNone/>
              <a:defRPr sz="2099" b="1"/>
            </a:lvl8pPr>
            <a:lvl9pPr marL="4866847" indent="0">
              <a:buNone/>
              <a:defRPr sz="2099" b="1"/>
            </a:lvl9pPr>
          </a:lstStyle>
          <a:p>
            <a:pPr lvl="0"/>
            <a:r>
              <a:rPr lang="en-US" dirty="0"/>
              <a:t>Click to edit Master text styles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633" y="6401039"/>
            <a:ext cx="560613" cy="219507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599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4034"/>
            <a:fld id="{FA4A93B8-B23A-4F35-A6A2-2F1F9227CD90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4034"/>
              <a:t>‹#›</a:t>
            </a:fld>
            <a:endParaRPr lang="en-US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  <p:sp>
        <p:nvSpPr>
          <p:cNvPr id="9" name="Content Placeholder 5"/>
          <p:cNvSpPr>
            <a:spLocks noGrp="1"/>
          </p:cNvSpPr>
          <p:nvPr>
            <p:ph sz="quarter" idx="13"/>
          </p:nvPr>
        </p:nvSpPr>
        <p:spPr>
          <a:xfrm>
            <a:off x="520634" y="2735621"/>
            <a:ext cx="5443456" cy="6095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1198"/>
              </a:spcBef>
              <a:buFont typeface="Arial" pitchFamily="34" charset="0"/>
              <a:buNone/>
              <a:defRPr lang="en-US" sz="1999" kern="1200" spc="0" dirty="0" smtClean="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1pPr>
            <a:lvl2pPr marL="912533" indent="-380222">
              <a:defRPr lang="en-US" sz="2099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912533" indent="-228134">
              <a:defRPr lang="en-US" sz="1899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16712" indent="-228134">
              <a:defRPr lang="en-US" sz="1599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444846" indent="-228134">
              <a:defRPr lang="en-US" sz="1599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207906" y="0"/>
            <a:ext cx="5979333" cy="6859588"/>
          </a:xfrm>
        </p:spPr>
        <p:txBody>
          <a:bodyPr lIns="182611" anchor="ctr"/>
          <a:lstStyle>
            <a:lvl1pPr marL="0" indent="0" algn="l">
              <a:buNone/>
              <a:defRPr/>
            </a:lvl1pPr>
          </a:lstStyle>
          <a:p>
            <a:r>
              <a:rPr lang="en-US" dirty="0"/>
              <a:t>Click to insert photo.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5641" y="6167846"/>
            <a:ext cx="1422570" cy="523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1666593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/Photo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17282" y="1448138"/>
            <a:ext cx="5432825" cy="117871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998" b="0" cap="none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608356" indent="0">
              <a:buNone/>
              <a:defRPr sz="2699" b="1"/>
            </a:lvl2pPr>
            <a:lvl3pPr marL="1216712" indent="0">
              <a:buNone/>
              <a:defRPr sz="2399" b="1"/>
            </a:lvl3pPr>
            <a:lvl4pPr marL="1825068" indent="0">
              <a:buNone/>
              <a:defRPr sz="2099" b="1"/>
            </a:lvl4pPr>
            <a:lvl5pPr marL="2433423" indent="0">
              <a:buNone/>
              <a:defRPr sz="2099" b="1"/>
            </a:lvl5pPr>
            <a:lvl6pPr marL="3041780" indent="0">
              <a:buNone/>
              <a:defRPr sz="2099" b="1"/>
            </a:lvl6pPr>
            <a:lvl7pPr marL="3650135" indent="0">
              <a:buNone/>
              <a:defRPr sz="2099" b="1"/>
            </a:lvl7pPr>
            <a:lvl8pPr marL="4258490" indent="0">
              <a:buNone/>
              <a:defRPr sz="2099" b="1"/>
            </a:lvl8pPr>
            <a:lvl9pPr marL="4866847" indent="0">
              <a:buNone/>
              <a:defRPr sz="2099" b="1"/>
            </a:lvl9pPr>
          </a:lstStyle>
          <a:p>
            <a:pPr lvl="0"/>
            <a:r>
              <a:rPr lang="en-US" dirty="0"/>
              <a:t>Click to edit Master text styles.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3"/>
          </p:nvPr>
        </p:nvSpPr>
        <p:spPr>
          <a:xfrm>
            <a:off x="6217283" y="2735621"/>
            <a:ext cx="5443456" cy="6095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1198"/>
              </a:spcBef>
              <a:buFont typeface="Arial" pitchFamily="34" charset="0"/>
              <a:buNone/>
              <a:defRPr lang="en-US" sz="1999" kern="1200" spc="0" dirty="0" smtClean="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1pPr>
            <a:lvl2pPr marL="912533" indent="-380222">
              <a:defRPr lang="en-US" sz="2099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912533" indent="-228134">
              <a:defRPr lang="en-US" sz="1899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16712" indent="-228134">
              <a:defRPr lang="en-US" sz="1599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444846" indent="-228134">
              <a:defRPr lang="en-US" sz="1599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5979333" cy="6859588"/>
          </a:xfrm>
        </p:spPr>
        <p:txBody>
          <a:bodyPr lIns="182611" anchor="ctr"/>
          <a:lstStyle>
            <a:lvl1pPr marL="0" indent="0" algn="l">
              <a:buNone/>
              <a:defRPr/>
            </a:lvl1pPr>
          </a:lstStyle>
          <a:p>
            <a:r>
              <a:rPr lang="en-US" dirty="0"/>
              <a:t>Click to insert photo.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5641" y="6167846"/>
            <a:ext cx="1422570" cy="523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878587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Title Accent Color 3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34" y="2084655"/>
            <a:ext cx="11648971" cy="1796633"/>
          </a:xfrm>
          <a:noFill/>
        </p:spPr>
        <p:txBody>
          <a:bodyPr tIns="91440" bIns="91440" anchor="t" anchorCtr="0"/>
          <a:lstStyle>
            <a:lvl1pPr>
              <a:defRPr sz="862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36837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r Block Header on Left &amp; Text on Righ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white">
          <a:xfrm>
            <a:off x="-9522" y="0"/>
            <a:ext cx="5985684" cy="685958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36" tIns="45636" rIns="45636" bIns="456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23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99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20631" y="1448138"/>
            <a:ext cx="5231720" cy="16623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998" b="0" cap="none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608356" indent="0">
              <a:buNone/>
              <a:defRPr sz="2699" b="1"/>
            </a:lvl2pPr>
            <a:lvl3pPr marL="1216712" indent="0">
              <a:buNone/>
              <a:defRPr sz="2399" b="1"/>
            </a:lvl3pPr>
            <a:lvl4pPr marL="1825068" indent="0">
              <a:buNone/>
              <a:defRPr sz="2099" b="1"/>
            </a:lvl4pPr>
            <a:lvl5pPr marL="2433423" indent="0">
              <a:buNone/>
              <a:defRPr sz="2099" b="1"/>
            </a:lvl5pPr>
            <a:lvl6pPr marL="3041780" indent="0">
              <a:buNone/>
              <a:defRPr sz="2099" b="1"/>
            </a:lvl6pPr>
            <a:lvl7pPr marL="3650135" indent="0">
              <a:buNone/>
              <a:defRPr sz="2099" b="1"/>
            </a:lvl7pPr>
            <a:lvl8pPr marL="4258490" indent="0">
              <a:buNone/>
              <a:defRPr sz="2099" b="1"/>
            </a:lvl8pPr>
            <a:lvl9pPr marL="4866847" indent="0">
              <a:buNone/>
              <a:defRPr sz="2099" b="1"/>
            </a:lvl9pPr>
          </a:lstStyle>
          <a:p>
            <a:pPr lvl="0"/>
            <a:r>
              <a:rPr lang="en-US" dirty="0"/>
              <a:t>Click to edit Master text styles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87345" y="1682297"/>
            <a:ext cx="5484026" cy="3324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1198"/>
              </a:spcBef>
              <a:buNone/>
              <a:defRPr lang="en-US" sz="1999" kern="1200" spc="0" dirty="0" smtClean="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1pPr>
            <a:lvl2pPr marL="912533" indent="-380222">
              <a:defRPr lang="en-US" sz="2099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912533" indent="-228134">
              <a:defRPr lang="en-US" sz="1899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16712" indent="-228134">
              <a:defRPr lang="en-US" sz="1599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444846" indent="-228134">
              <a:defRPr lang="en-US" sz="1599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5641" y="6167846"/>
            <a:ext cx="1422570" cy="523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9352876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lock Header on Left with Image &amp; Text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white">
          <a:xfrm>
            <a:off x="-9522" y="0"/>
            <a:ext cx="5985684" cy="685958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36" tIns="45636" rIns="45636" bIns="456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23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99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20631" y="1448138"/>
            <a:ext cx="5231720" cy="166237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3998" b="0" cap="none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608356" indent="0">
              <a:buNone/>
              <a:defRPr sz="2699" b="1"/>
            </a:lvl2pPr>
            <a:lvl3pPr marL="1216712" indent="0">
              <a:buNone/>
              <a:defRPr sz="2399" b="1"/>
            </a:lvl3pPr>
            <a:lvl4pPr marL="1825068" indent="0">
              <a:buNone/>
              <a:defRPr sz="2099" b="1"/>
            </a:lvl4pPr>
            <a:lvl5pPr marL="2433423" indent="0">
              <a:buNone/>
              <a:defRPr sz="2099" b="1"/>
            </a:lvl5pPr>
            <a:lvl6pPr marL="3041780" indent="0">
              <a:buNone/>
              <a:defRPr sz="2099" b="1"/>
            </a:lvl6pPr>
            <a:lvl7pPr marL="3650135" indent="0">
              <a:buNone/>
              <a:defRPr sz="2099" b="1"/>
            </a:lvl7pPr>
            <a:lvl8pPr marL="4258490" indent="0">
              <a:buNone/>
              <a:defRPr sz="2099" b="1"/>
            </a:lvl8pPr>
            <a:lvl9pPr marL="4866847" indent="0">
              <a:buNone/>
              <a:defRPr sz="2099" b="1"/>
            </a:lvl9pPr>
          </a:lstStyle>
          <a:p>
            <a:pPr lvl="0"/>
            <a:r>
              <a:rPr lang="en-US" dirty="0"/>
              <a:t>Click to edit Master text styles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82506" y="1187020"/>
            <a:ext cx="5388865" cy="4485549"/>
          </a:xfrm>
          <a:prstGeom prst="rect">
            <a:avLst/>
          </a:prstGeom>
        </p:spPr>
        <p:txBody>
          <a:bodyPr lIns="182880" anchor="ctr">
            <a:noAutofit/>
          </a:bodyPr>
          <a:lstStyle>
            <a:lvl1pPr marL="0" indent="0">
              <a:lnSpc>
                <a:spcPct val="100000"/>
              </a:lnSpc>
              <a:spcBef>
                <a:spcPts val="1799"/>
              </a:spcBef>
              <a:buNone/>
              <a:defRPr lang="en-US" sz="2799" kern="1200" spc="0" dirty="0" smtClean="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1pPr>
            <a:lvl2pPr marL="912533" indent="-380222">
              <a:defRPr lang="en-US" sz="2099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912533" indent="-228134">
              <a:defRPr lang="en-US" sz="1899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16712" indent="-228134">
              <a:defRPr lang="en-US" sz="1599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444846" indent="-228134">
              <a:defRPr lang="en-US" sz="1599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5641" y="6167846"/>
            <a:ext cx="1422570" cy="523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2046577" y="3770333"/>
            <a:ext cx="1746018" cy="168967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9226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r Block text w/Photo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1" y="0"/>
            <a:ext cx="6219015" cy="685958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36" tIns="45636" rIns="45636" bIns="456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23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99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20632" y="1448138"/>
            <a:ext cx="5432825" cy="117871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998" b="0" cap="none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608356" indent="0">
              <a:buNone/>
              <a:defRPr sz="2699" b="1"/>
            </a:lvl2pPr>
            <a:lvl3pPr marL="1216712" indent="0">
              <a:buNone/>
              <a:defRPr sz="2399" b="1"/>
            </a:lvl3pPr>
            <a:lvl4pPr marL="1825068" indent="0">
              <a:buNone/>
              <a:defRPr sz="2099" b="1"/>
            </a:lvl4pPr>
            <a:lvl5pPr marL="2433423" indent="0">
              <a:buNone/>
              <a:defRPr sz="2099" b="1"/>
            </a:lvl5pPr>
            <a:lvl6pPr marL="3041780" indent="0">
              <a:buNone/>
              <a:defRPr sz="2099" b="1"/>
            </a:lvl6pPr>
            <a:lvl7pPr marL="3650135" indent="0">
              <a:buNone/>
              <a:defRPr sz="2099" b="1"/>
            </a:lvl7pPr>
            <a:lvl8pPr marL="4258490" indent="0">
              <a:buNone/>
              <a:defRPr sz="2099" b="1"/>
            </a:lvl8pPr>
            <a:lvl9pPr marL="4866847" indent="0">
              <a:buNone/>
              <a:defRPr sz="2099" b="1"/>
            </a:lvl9pPr>
          </a:lstStyle>
          <a:p>
            <a:pPr lvl="0"/>
            <a:r>
              <a:rPr lang="en-US" dirty="0"/>
              <a:t>Click to edit Master text styles.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3"/>
          </p:nvPr>
        </p:nvSpPr>
        <p:spPr>
          <a:xfrm>
            <a:off x="520634" y="2735621"/>
            <a:ext cx="5443456" cy="6095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1198"/>
              </a:spcBef>
              <a:buFont typeface="Arial" pitchFamily="34" charset="0"/>
              <a:buNone/>
              <a:defRPr lang="en-US" sz="1999" kern="1200" spc="0" dirty="0" smtClean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1pPr>
            <a:lvl2pPr marL="912533" indent="-380222">
              <a:defRPr lang="en-US" sz="2099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912533" indent="-228134">
              <a:defRPr lang="en-US" sz="1899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16712" indent="-228134">
              <a:defRPr lang="en-US" sz="1599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444846" indent="-228134">
              <a:defRPr lang="en-US" sz="1599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207906" y="0"/>
            <a:ext cx="5979333" cy="6859588"/>
          </a:xfrm>
        </p:spPr>
        <p:txBody>
          <a:bodyPr lIns="182611" anchor="ctr"/>
          <a:lstStyle>
            <a:lvl1pPr marL="0" indent="0" algn="l">
              <a:buNone/>
              <a:defRPr/>
            </a:lvl1pPr>
          </a:lstStyle>
          <a:p>
            <a:r>
              <a:rPr lang="en-US" dirty="0"/>
              <a:t>Click to insert photo.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5641" y="6167846"/>
            <a:ext cx="1422570" cy="523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058529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r Block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white">
          <a:xfrm>
            <a:off x="0" y="857449"/>
            <a:ext cx="12187238" cy="512563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36" tIns="45636" rIns="45636" bIns="456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23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99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520633" y="1358370"/>
            <a:ext cx="11150737" cy="28637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6397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 sz="6397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“Click to edit Master text styles”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633" y="6401039"/>
            <a:ext cx="560613" cy="219507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599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4034"/>
            <a:fld id="{FA4A93B8-B23A-4F35-A6A2-2F1F9227CD90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4034"/>
              <a:t>‹#›</a:t>
            </a:fld>
            <a:endParaRPr lang="en-US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3"/>
          </p:nvPr>
        </p:nvSpPr>
        <p:spPr>
          <a:xfrm>
            <a:off x="520633" y="4344408"/>
            <a:ext cx="11150737" cy="47085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599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 sz="6397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5641" y="6167846"/>
            <a:ext cx="1422570" cy="523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3664894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633" y="6401039"/>
            <a:ext cx="560613" cy="219507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599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4034"/>
            <a:fld id="{FA4A93B8-B23A-4F35-A6A2-2F1F9227CD90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4034"/>
              <a:t>‹#›</a:t>
            </a:fld>
            <a:endParaRPr lang="en-US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5641" y="6167846"/>
            <a:ext cx="1422570" cy="523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10984002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3706631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/>
        </p:nvSpPr>
        <p:spPr bwMode="hidden">
          <a:xfrm>
            <a:off x="0" y="1156209"/>
            <a:ext cx="12187238" cy="570338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36" tIns="45636" rIns="45636" bIns="456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23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8251" y="1448137"/>
            <a:ext cx="11150737" cy="1988697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31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1pPr>
            <a:lvl2pPr marL="339091" indent="0">
              <a:lnSpc>
                <a:spcPct val="95000"/>
              </a:lnSpc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2pPr>
            <a:lvl3pPr marL="572018" indent="0">
              <a:lnSpc>
                <a:spcPct val="95000"/>
              </a:lnSpc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3pPr>
            <a:lvl4pPr marL="797023" indent="0">
              <a:lnSpc>
                <a:spcPct val="95000"/>
              </a:lnSpc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4pPr>
            <a:lvl5pPr marL="1028365" indent="0">
              <a:lnSpc>
                <a:spcPct val="95000"/>
              </a:lnSpc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957369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20633" y="228654"/>
            <a:ext cx="11150737" cy="664951"/>
          </a:xfrm>
        </p:spPr>
        <p:txBody>
          <a:bodyPr/>
          <a:lstStyle>
            <a:lvl1pPr>
              <a:defRPr sz="4798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519047" y="1448134"/>
            <a:ext cx="11147561" cy="2044109"/>
          </a:xfrm>
          <a:prstGeom prst="rect">
            <a:avLst/>
          </a:prstGeom>
        </p:spPr>
        <p:txBody>
          <a:bodyPr/>
          <a:lstStyle>
            <a:lvl1pPr marL="342260" indent="-342260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27476" indent="-285217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12693" indent="-285217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140866" indent="-228174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69040" indent="-228174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" y="6240322"/>
            <a:ext cx="12187239" cy="619268"/>
          </a:xfrm>
          <a:prstGeom prst="rect">
            <a:avLst/>
          </a:prstGeom>
          <a:solidFill>
            <a:srgbClr val="FFFF99"/>
          </a:solidFill>
        </p:spPr>
        <p:txBody>
          <a:bodyPr wrap="square" lIns="152171" tIns="76085" rIns="152171" bIns="76085" anchor="b" anchorCtr="0">
            <a:noAutofit/>
          </a:bodyPr>
          <a:lstStyle>
            <a:lvl1pPr algn="r">
              <a:buFont typeface="Arial" pitchFamily="34" charset="0"/>
              <a:buNone/>
              <a:defRPr sz="35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996280546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Cya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8568" y="2110031"/>
            <a:ext cx="10236453" cy="997427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7197" spc="-1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78568" y="3426621"/>
            <a:ext cx="10236453" cy="498714"/>
          </a:xfrm>
          <a:prstGeom prst="rect">
            <a:avLst/>
          </a:prstGeom>
        </p:spPr>
        <p:txBody>
          <a:bodyPr lIns="91306" tIns="45654" rIns="91306" bIns="45654">
            <a:noAutofit/>
          </a:bodyPr>
          <a:lstStyle>
            <a:lvl1pPr marL="0" indent="0">
              <a:spcBef>
                <a:spcPts val="0"/>
              </a:spcBef>
              <a:buNone/>
              <a:defRPr spc="-71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23664" y="6153122"/>
            <a:ext cx="1461498" cy="537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6687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793" y="2057876"/>
            <a:ext cx="5485686" cy="3658447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89" tIns="143351" rIns="179189" bIns="14335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64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793" y="2057877"/>
            <a:ext cx="5485686" cy="2744061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398" spc="-98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793" y="4801711"/>
            <a:ext cx="5485686" cy="914612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1999">
                <a:solidFill>
                  <a:schemeClr val="bg1"/>
                </a:solidFill>
              </a:defRPr>
            </a:lvl1pPr>
            <a:lvl2pPr marL="281561" indent="0">
              <a:buNone/>
              <a:defRPr sz="1999">
                <a:solidFill>
                  <a:schemeClr val="bg1"/>
                </a:solidFill>
              </a:defRPr>
            </a:lvl2pPr>
            <a:lvl3pPr marL="588241" indent="0">
              <a:buNone/>
              <a:defRPr sz="1999">
                <a:solidFill>
                  <a:schemeClr val="bg1"/>
                </a:solidFill>
              </a:defRPr>
            </a:lvl3pPr>
            <a:lvl4pPr marL="869802" indent="0">
              <a:buNone/>
              <a:defRPr sz="1999">
                <a:solidFill>
                  <a:schemeClr val="bg1"/>
                </a:solidFill>
              </a:defRPr>
            </a:lvl4pPr>
            <a:lvl5pPr marL="1105098" indent="0">
              <a:buNone/>
              <a:defRPr sz="19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17024" y="381088"/>
            <a:ext cx="3808512" cy="1905441"/>
          </a:xfrm>
          <a:prstGeom prst="rect">
            <a:avLst/>
          </a:prstGeom>
        </p:spPr>
        <p:txBody>
          <a:bodyPr vert="horz" wrap="square" lIns="108778" tIns="54390" rIns="108778" bIns="54390" rtlCol="0" anchor="ctr">
            <a:normAutofit/>
          </a:bodyPr>
          <a:lstStyle/>
          <a:p>
            <a:pPr marL="0" marR="0" lvl="0" indent="0" algn="l" defTabSz="1087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D2D2D2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22572" y="228653"/>
            <a:ext cx="1946342" cy="716208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617024" y="381088"/>
            <a:ext cx="3808512" cy="1905441"/>
          </a:xfrm>
          <a:prstGeom prst="rect">
            <a:avLst/>
          </a:prstGeom>
        </p:spPr>
        <p:txBody>
          <a:bodyPr vert="horz" wrap="square" lIns="108778" tIns="54390" rIns="108778" bIns="54390" rtlCol="0" anchor="ctr">
            <a:normAutofit/>
          </a:bodyPr>
          <a:lstStyle/>
          <a:p>
            <a:pPr marL="0" marR="0" lvl="0" indent="0" algn="l" defTabSz="1087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D2D2D2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2" y="198403"/>
            <a:ext cx="1946342" cy="71620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7617024" y="381088"/>
            <a:ext cx="3808512" cy="1905441"/>
          </a:xfrm>
          <a:prstGeom prst="rect">
            <a:avLst/>
          </a:prstGeom>
        </p:spPr>
        <p:txBody>
          <a:bodyPr vert="horz" wrap="square" lIns="108778" tIns="54390" rIns="108778" bIns="54390" rtlCol="0" anchor="ctr">
            <a:normAutofit/>
          </a:bodyPr>
          <a:lstStyle/>
          <a:p>
            <a:pPr marL="0" marR="0" lvl="0" indent="0" algn="l" defTabSz="1087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D2D2D2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2" y="198403"/>
            <a:ext cx="1946342" cy="71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13214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134" y="1189452"/>
            <a:ext cx="11648971" cy="2052506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4028" indent="0">
              <a:buNone/>
              <a:defRPr sz="1960"/>
            </a:lvl3pPr>
            <a:lvl4pPr marL="448056" indent="0">
              <a:buNone/>
              <a:defRPr sz="1764"/>
            </a:lvl4pPr>
            <a:lvl5pPr marL="672084" indent="0">
              <a:buNone/>
              <a:defRPr sz="176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14 Microsoft Corporation. All rights reserved. Customer confidential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274DB-0FFC-40B0-A500-0E342E576A8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408244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20086" y="274270"/>
            <a:ext cx="1946342" cy="716209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gray">
          <a:xfrm>
            <a:off x="150793" y="2057876"/>
            <a:ext cx="5485686" cy="3658447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89" tIns="143351" rIns="179189" bIns="14335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64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793" y="2057877"/>
            <a:ext cx="5485686" cy="2744061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398" spc="-98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793" y="4801711"/>
            <a:ext cx="5485686" cy="914612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1999">
                <a:solidFill>
                  <a:schemeClr val="bg1"/>
                </a:solidFill>
              </a:defRPr>
            </a:lvl1pPr>
            <a:lvl2pPr marL="281561" indent="0">
              <a:buNone/>
              <a:defRPr sz="1999">
                <a:solidFill>
                  <a:schemeClr val="bg1"/>
                </a:solidFill>
              </a:defRPr>
            </a:lvl2pPr>
            <a:lvl3pPr marL="588241" indent="0">
              <a:buNone/>
              <a:defRPr sz="1999">
                <a:solidFill>
                  <a:schemeClr val="bg1"/>
                </a:solidFill>
              </a:defRPr>
            </a:lvl3pPr>
            <a:lvl4pPr marL="869802" indent="0">
              <a:buNone/>
              <a:defRPr sz="1999">
                <a:solidFill>
                  <a:schemeClr val="bg1"/>
                </a:solidFill>
              </a:defRPr>
            </a:lvl4pPr>
            <a:lvl5pPr marL="1105098" indent="0">
              <a:buNone/>
              <a:defRPr sz="19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04" y="200825"/>
            <a:ext cx="1946339" cy="71620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20086" y="274270"/>
            <a:ext cx="1946342" cy="71620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04" y="200825"/>
            <a:ext cx="1946339" cy="71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77546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739"/>
            <a:ext cx="12187238" cy="373149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799">
                <a:solidFill>
                  <a:schemeClr val="tx1"/>
                </a:solidFill>
                <a:latin typeface="Segoe UI Light" pitchFamily="34" charset="0"/>
              </a:defRPr>
            </a:lvl1pPr>
            <a:lvl2pPr marL="281561" indent="0">
              <a:buNone/>
              <a:defRPr/>
            </a:lvl2pPr>
            <a:lvl3pPr marL="588241" indent="0">
              <a:buNone/>
              <a:defRPr/>
            </a:lvl3pPr>
            <a:lvl4pPr marL="869802" indent="0">
              <a:buNone/>
              <a:defRPr/>
            </a:lvl4pPr>
            <a:lvl5pPr marL="1105098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0794" y="1600570"/>
            <a:ext cx="11885652" cy="45781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914034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914034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defTabSz="914034"/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0148562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34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25537" y="6480089"/>
            <a:ext cx="761700" cy="379501"/>
          </a:xfrm>
          <a:prstGeom prst="rect">
            <a:avLst/>
          </a:prstGeom>
        </p:spPr>
        <p:txBody>
          <a:bodyPr/>
          <a:lstStyle/>
          <a:p>
            <a:pPr defTabSz="914034"/>
            <a:fld id="{6A4C1A4A-E5E6-4CC1-B72C-A20A4EB3E2D2}" type="slidenum">
              <a:rPr lang="en-US" smtClean="0">
                <a:solidFill>
                  <a:srgbClr val="505050"/>
                </a:solidFill>
              </a:rPr>
              <a:pPr defTabSz="914034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739"/>
            <a:ext cx="12187238" cy="373149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799">
                <a:solidFill>
                  <a:schemeClr val="tx1"/>
                </a:solidFill>
                <a:latin typeface="Segoe UI Light" pitchFamily="34" charset="0"/>
              </a:defRPr>
            </a:lvl1pPr>
            <a:lvl2pPr marL="281561" indent="0">
              <a:buNone/>
              <a:defRPr/>
            </a:lvl2pPr>
            <a:lvl3pPr marL="588241" indent="0">
              <a:buNone/>
              <a:defRPr/>
            </a:lvl3pPr>
            <a:lvl4pPr marL="869802" indent="0">
              <a:buNone/>
              <a:defRPr/>
            </a:lvl4pPr>
            <a:lvl5pPr marL="1105098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74000490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0794" y="1600571"/>
            <a:ext cx="11885652" cy="44968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1561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588241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69802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05098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73739"/>
            <a:ext cx="12187238" cy="373149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799">
                <a:solidFill>
                  <a:schemeClr val="tx1"/>
                </a:solidFill>
                <a:latin typeface="Segoe UI Light" pitchFamily="34" charset="0"/>
              </a:defRPr>
            </a:lvl1pPr>
            <a:lvl2pPr marL="281561" indent="0">
              <a:buNone/>
              <a:defRPr/>
            </a:lvl2pPr>
            <a:lvl3pPr marL="588241" indent="0">
              <a:buNone/>
              <a:defRPr/>
            </a:lvl3pPr>
            <a:lvl4pPr marL="869802" indent="0">
              <a:buNone/>
              <a:defRPr/>
            </a:lvl4pPr>
            <a:lvl5pPr marL="1105098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defTabSz="914034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914034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914034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252683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914034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914034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914034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6338064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793" y="1143265"/>
            <a:ext cx="10057090" cy="2734909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89" tIns="143351" rIns="179189" bIns="14335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64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793" y="1143265"/>
            <a:ext cx="10057090" cy="2734909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89" tIns="143351" rIns="179189" bIns="14335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64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795" y="1143266"/>
            <a:ext cx="10057089" cy="2734910"/>
          </a:xfrm>
          <a:noFill/>
        </p:spPr>
        <p:txBody>
          <a:bodyPr lIns="137160" tIns="137160" rIns="137160" bIns="137160" anchor="t" anchorCtr="0"/>
          <a:lstStyle>
            <a:lvl1pPr>
              <a:defRPr sz="7097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793" y="3878175"/>
            <a:ext cx="10057091" cy="1838149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799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793" y="1143265"/>
            <a:ext cx="10057090" cy="2734909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89" tIns="143351" rIns="179189" bIns="14335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64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4221058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795" y="1143265"/>
            <a:ext cx="10057089" cy="274383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89" tIns="143351" rIns="179189" bIns="14335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64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795" y="1143265"/>
            <a:ext cx="10057089" cy="274383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89" tIns="143351" rIns="179189" bIns="14335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64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795" y="1143265"/>
            <a:ext cx="10057089" cy="2734910"/>
          </a:xfrm>
          <a:noFill/>
        </p:spPr>
        <p:txBody>
          <a:bodyPr lIns="137160" tIns="137160" rIns="137160" bIns="137160" anchor="t" anchorCtr="0"/>
          <a:lstStyle>
            <a:lvl1pPr>
              <a:defRPr sz="7097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793" y="3887100"/>
            <a:ext cx="10057090" cy="1829223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799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795" y="1143265"/>
            <a:ext cx="10057089" cy="274383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89" tIns="143351" rIns="179189" bIns="14335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64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0831306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794" y="2057877"/>
            <a:ext cx="11885652" cy="1823410"/>
          </a:xfrm>
          <a:noFill/>
        </p:spPr>
        <p:txBody>
          <a:bodyPr lIns="137160" tIns="137160" rIns="137160" bIns="137160" anchor="t" anchorCtr="0"/>
          <a:lstStyle>
            <a:lvl1pPr>
              <a:defRPr sz="8597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794" y="3887100"/>
            <a:ext cx="6399966" cy="25914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352" indent="-190352">
              <a:lnSpc>
                <a:spcPct val="80000"/>
              </a:lnSpc>
              <a:buNone/>
              <a:defRPr lang="en-US" sz="1999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670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16546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794" y="2057877"/>
            <a:ext cx="11885652" cy="1823410"/>
          </a:xfrm>
          <a:noFill/>
        </p:spPr>
        <p:txBody>
          <a:bodyPr lIns="137160" tIns="137160" rIns="137160" bIns="137160" anchor="t" anchorCtr="0"/>
          <a:lstStyle>
            <a:lvl1pPr>
              <a:defRPr sz="8597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794" y="3887100"/>
            <a:ext cx="6399966" cy="25914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352" indent="-190352">
              <a:lnSpc>
                <a:spcPct val="80000"/>
              </a:lnSpc>
              <a:buNone/>
              <a:defRPr lang="en-US" sz="1999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670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1073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794" y="2057877"/>
            <a:ext cx="11885652" cy="1823410"/>
          </a:xfrm>
          <a:noFill/>
        </p:spPr>
        <p:txBody>
          <a:bodyPr lIns="137160" tIns="137160" rIns="137160" bIns="137160" anchor="t" anchorCtr="0"/>
          <a:lstStyle>
            <a:lvl1pPr>
              <a:defRPr sz="8597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794" y="3887100"/>
            <a:ext cx="6399966" cy="25914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352" indent="-190352">
              <a:lnSpc>
                <a:spcPct val="80000"/>
              </a:lnSpc>
              <a:buNone/>
              <a:defRPr lang="en-US" sz="1999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670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46844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134" y="1189452"/>
            <a:ext cx="11648971" cy="2052506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4028" indent="0">
              <a:buNone/>
              <a:defRPr sz="1960"/>
            </a:lvl3pPr>
            <a:lvl4pPr marL="448056" indent="0">
              <a:buNone/>
              <a:defRPr sz="1764"/>
            </a:lvl4pPr>
            <a:lvl5pPr marL="672084" indent="0">
              <a:buNone/>
              <a:defRPr sz="176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14 Microsoft Corporation. All rights reserved. Customer confidential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274DB-0FFC-40B0-A500-0E342E576A8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3816875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794" y="2057877"/>
            <a:ext cx="11885652" cy="1823410"/>
          </a:xfrm>
          <a:noFill/>
        </p:spPr>
        <p:txBody>
          <a:bodyPr lIns="137160" tIns="137160" rIns="137160" bIns="137160" anchor="t" anchorCtr="0"/>
          <a:lstStyle>
            <a:lvl1pPr>
              <a:defRPr sz="8597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794" y="3887100"/>
            <a:ext cx="6399966" cy="25914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352" indent="-190352">
              <a:lnSpc>
                <a:spcPct val="80000"/>
              </a:lnSpc>
              <a:buNone/>
              <a:defRPr lang="en-US" sz="1999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670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93834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794" y="2057877"/>
            <a:ext cx="11885652" cy="1823410"/>
          </a:xfrm>
          <a:noFill/>
        </p:spPr>
        <p:txBody>
          <a:bodyPr lIns="137160" tIns="137160" rIns="137160" bIns="137160" anchor="t" anchorCtr="0"/>
          <a:lstStyle>
            <a:lvl1pPr>
              <a:defRPr sz="8597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794" y="3887100"/>
            <a:ext cx="6399966" cy="25914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352" indent="-190352">
              <a:lnSpc>
                <a:spcPct val="80000"/>
              </a:lnSpc>
              <a:buNone/>
              <a:defRPr lang="en-US" sz="1999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670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57444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Title Accent Color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794" y="2057877"/>
            <a:ext cx="11885652" cy="1823410"/>
          </a:xfrm>
          <a:noFill/>
        </p:spPr>
        <p:txBody>
          <a:bodyPr lIns="137160" tIns="137160" rIns="137160" bIns="137160" anchor="t" anchorCtr="0"/>
          <a:lstStyle>
            <a:lvl1pPr>
              <a:defRPr sz="8597" spc="-98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794" y="3887100"/>
            <a:ext cx="6399966" cy="25914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352" indent="-190352">
              <a:lnSpc>
                <a:spcPct val="80000"/>
              </a:lnSpc>
              <a:buNone/>
              <a:defRPr lang="en-US" sz="1999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670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41394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note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6983" y="1600570"/>
            <a:ext cx="11352321" cy="4573059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40322"/>
            <a:ext cx="12187239" cy="619268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3699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1383123556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87238" cy="68595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49" tIns="38074" rIns="76149" bIns="38074" rtlCol="0" anchor="ctr"/>
          <a:lstStyle/>
          <a:p>
            <a:pPr marL="0" marR="0" lvl="0" indent="0" algn="ctr" defTabSz="1087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87238" cy="68595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49" tIns="38074" rIns="76149" bIns="38074" rtlCol="0" anchor="ctr"/>
          <a:lstStyle/>
          <a:p>
            <a:pPr marL="0" marR="0" lvl="0" indent="0" algn="ctr" defTabSz="1087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87238" cy="68595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49" tIns="38074" rIns="76149" bIns="38074" rtlCol="0" anchor="ctr"/>
          <a:lstStyle/>
          <a:p>
            <a:pPr marL="0" marR="0" lvl="0" indent="0" algn="ctr" defTabSz="1087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059" y="2899911"/>
            <a:ext cx="2879992" cy="105977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187238" cy="68595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49" tIns="38074" rIns="76149" bIns="38074" rtlCol="0" anchor="ctr"/>
          <a:lstStyle/>
          <a:p>
            <a:pPr marL="0" marR="0" lvl="0" indent="0" algn="ctr" defTabSz="1087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059" y="2899911"/>
            <a:ext cx="2879992" cy="105977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187238" cy="68595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49" tIns="38074" rIns="76149" bIns="38074" rtlCol="0" anchor="ctr"/>
          <a:lstStyle/>
          <a:p>
            <a:pPr marL="0" marR="0" lvl="0" indent="0" algn="ctr" defTabSz="1087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699" y="2902624"/>
            <a:ext cx="2843897" cy="1046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473542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alterna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7" y="6480102"/>
            <a:ext cx="12187237" cy="379501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20" tIns="38060" rIns="76120" bIns="38060" rtlCol="0" anchor="ctr"/>
          <a:lstStyle/>
          <a:p>
            <a:pPr marL="0" marR="0" lvl="0" indent="0" algn="ctr" defTabSz="10872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61706" y="2"/>
            <a:ext cx="11425536" cy="646192"/>
          </a:xfrm>
        </p:spPr>
        <p:txBody>
          <a:bodyPr>
            <a:noAutofit/>
          </a:bodyPr>
          <a:lstStyle>
            <a:lvl1pPr marL="225335" indent="0">
              <a:defRPr sz="4398"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761706" y="573752"/>
            <a:ext cx="11425536" cy="373149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798">
                <a:latin typeface="Segoe UI Light" pitchFamily="34" charset="0"/>
              </a:defRPr>
            </a:lvl1pPr>
            <a:lvl2pPr marL="281446" indent="0">
              <a:buNone/>
              <a:defRPr/>
            </a:lvl2pPr>
            <a:lvl3pPr marL="587999" indent="0">
              <a:buNone/>
              <a:defRPr/>
            </a:lvl3pPr>
            <a:lvl4pPr marL="869444" indent="0">
              <a:buNone/>
              <a:defRPr/>
            </a:lvl4pPr>
            <a:lvl5pPr marL="1104643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Rectangle 8"/>
          <p:cNvSpPr/>
          <p:nvPr userDrawn="1">
            <p:custDataLst>
              <p:tags r:id="rId6"/>
            </p:custDataLst>
          </p:nvPr>
        </p:nvSpPr>
        <p:spPr>
          <a:xfrm>
            <a:off x="1" y="1"/>
            <a:ext cx="761702" cy="685800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13" tIns="38057" rIns="76113" bIns="38057" rtlCol="0" anchor="ctr">
            <a:noAutofit/>
          </a:bodyPr>
          <a:lstStyle/>
          <a:p>
            <a:pPr marL="0" marR="0" lvl="0" indent="0" algn="ctr" defTabSz="10872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>
          <a:xfrm>
            <a:off x="11425544" y="6480102"/>
            <a:ext cx="761701" cy="379501"/>
          </a:xfrm>
          <a:prstGeom prst="rect">
            <a:avLst/>
          </a:prstGeom>
        </p:spPr>
        <p:txBody>
          <a:bodyPr/>
          <a:lstStyle/>
          <a:p>
            <a:pPr defTabSz="913881"/>
            <a:fld id="{6A4C1A4A-E5E6-4CC1-B72C-A20A4EB3E2D2}" type="slidenum">
              <a:rPr lang="en-US" sz="1899" smtClean="0">
                <a:solidFill>
                  <a:srgbClr val="505050"/>
                </a:solidFill>
              </a:rPr>
              <a:pPr defTabSz="913881"/>
              <a:t>‹#›</a:t>
            </a:fld>
            <a:endParaRPr lang="en-US" sz="1899" dirty="0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3046810" y="6479387"/>
            <a:ext cx="8378726" cy="380215"/>
          </a:xfrm>
          <a:prstGeom prst="rect">
            <a:avLst/>
          </a:prstGeom>
        </p:spPr>
        <p:txBody>
          <a:bodyPr/>
          <a:lstStyle/>
          <a:p>
            <a:pPr defTabSz="913881"/>
            <a:endParaRPr lang="en-US" sz="1899" dirty="0">
              <a:solidFill>
                <a:srgbClr val="505050"/>
              </a:solidFill>
            </a:endParaRPr>
          </a:p>
        </p:txBody>
      </p:sp>
      <p:sp>
        <p:nvSpPr>
          <p:cNvPr id="11" name="Footer Placeholder 2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761702" y="6480102"/>
            <a:ext cx="2285107" cy="379501"/>
          </a:xfrm>
          <a:prstGeom prst="rect">
            <a:avLst/>
          </a:prstGeom>
        </p:spPr>
        <p:txBody>
          <a:bodyPr lIns="380603" tIns="38060" rIns="76120" bIns="38060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305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4699065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Color 1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12697" y="1768886"/>
            <a:ext cx="11226978" cy="1219077"/>
          </a:xfrm>
        </p:spPr>
        <p:txBody>
          <a:bodyPr/>
          <a:lstStyle>
            <a:lvl1pPr marL="0" indent="0">
              <a:buNone/>
              <a:defRPr sz="8796" i="0" spc="-100" baseline="0">
                <a:solidFill>
                  <a:srgbClr val="FFFFFF"/>
                </a:solidFill>
                <a:latin typeface="Segoe UI Light" pitchFamily="34" charset="0"/>
              </a:defRPr>
            </a:lvl1pPr>
          </a:lstStyle>
          <a:p>
            <a:pPr lvl="0"/>
            <a:r>
              <a:rPr lang="en-US" dirty="0"/>
              <a:t>Click to edit title style</a:t>
            </a:r>
          </a:p>
        </p:txBody>
      </p:sp>
      <p:pic>
        <p:nvPicPr>
          <p:cNvPr id="7" name="Picture 2" descr="Microsoft logo and tagline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 rotWithShape="1"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0119424" y="6308476"/>
            <a:ext cx="1869404" cy="314521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 Placeholder 8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512696" y="3219910"/>
            <a:ext cx="7512659" cy="443301"/>
          </a:xfrm>
        </p:spPr>
        <p:txBody>
          <a:bodyPr/>
          <a:lstStyle>
            <a:lvl1pPr marL="0" indent="0">
              <a:buNone/>
              <a:defRPr spc="-100" baseline="0">
                <a:solidFill>
                  <a:srgbClr val="FFFFFF"/>
                </a:solidFill>
                <a:latin typeface="Segoe UI Light" pitchFamily="34" charset="0"/>
              </a:defRPr>
            </a:lvl1pPr>
          </a:lstStyle>
          <a:p>
            <a:pPr lvl="0"/>
            <a:r>
              <a:rPr lang="en-US" dirty="0"/>
              <a:t>Speaker Title</a:t>
            </a:r>
          </a:p>
        </p:txBody>
      </p:sp>
    </p:spTree>
    <p:extLst>
      <p:ext uri="{BB962C8B-B14F-4D97-AF65-F5344CB8AC3E}">
        <p14:creationId xmlns:p14="http://schemas.microsoft.com/office/powerpoint/2010/main" val="2202061449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Color 1 Layou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12697" y="1768886"/>
            <a:ext cx="11226978" cy="1219077"/>
          </a:xfrm>
        </p:spPr>
        <p:txBody>
          <a:bodyPr/>
          <a:lstStyle>
            <a:lvl1pPr marL="0" indent="0">
              <a:buNone/>
              <a:defRPr sz="8796" i="0" spc="-100" baseline="0">
                <a:solidFill>
                  <a:srgbClr val="FFFFFF"/>
                </a:solidFill>
                <a:latin typeface="Segoe UI Light" pitchFamily="34" charset="0"/>
              </a:defRPr>
            </a:lvl1pPr>
          </a:lstStyle>
          <a:p>
            <a:pPr lvl="0"/>
            <a:r>
              <a:rPr lang="en-US" dirty="0"/>
              <a:t>Click to edit title style</a:t>
            </a:r>
          </a:p>
        </p:txBody>
      </p:sp>
      <p:pic>
        <p:nvPicPr>
          <p:cNvPr id="3" name="Picture 2" descr="Microsoft logo and tagline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 rotWithShape="1"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0119424" y="6308476"/>
            <a:ext cx="1869404" cy="314521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 Placeholder 8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512696" y="3219910"/>
            <a:ext cx="7512659" cy="443301"/>
          </a:xfrm>
        </p:spPr>
        <p:txBody>
          <a:bodyPr/>
          <a:lstStyle>
            <a:lvl1pPr marL="0" indent="0">
              <a:buNone/>
              <a:defRPr lang="en-US" sz="3199" kern="1200" spc="-100" baseline="0" dirty="0">
                <a:solidFill>
                  <a:srgbClr val="FFFFFF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marL="0" lvl="0" indent="0" algn="l" defTabSz="91399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None/>
            </a:pPr>
            <a:r>
              <a:rPr lang="en-US" dirty="0"/>
              <a:t>Speaker Title</a:t>
            </a:r>
          </a:p>
        </p:txBody>
      </p:sp>
    </p:spTree>
    <p:extLst>
      <p:ext uri="{BB962C8B-B14F-4D97-AF65-F5344CB8AC3E}">
        <p14:creationId xmlns:p14="http://schemas.microsoft.com/office/powerpoint/2010/main" val="850468404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Color 1 Layou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12697" y="1768886"/>
            <a:ext cx="11226978" cy="1219077"/>
          </a:xfrm>
        </p:spPr>
        <p:txBody>
          <a:bodyPr/>
          <a:lstStyle>
            <a:lvl1pPr marL="0" indent="0">
              <a:buNone/>
              <a:defRPr lang="en-US" sz="8796" i="0" kern="1200" spc="-100" baseline="0" dirty="0" smtClean="0">
                <a:solidFill>
                  <a:srgbClr val="FFFFFF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marL="0" lvl="0" indent="0" algn="l" defTabSz="91399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None/>
            </a:pPr>
            <a:r>
              <a:rPr lang="en-US" dirty="0"/>
              <a:t>Click to edit title style</a:t>
            </a:r>
          </a:p>
        </p:txBody>
      </p:sp>
      <p:pic>
        <p:nvPicPr>
          <p:cNvPr id="3" name="Picture 2" descr="Microsoft logo and tagline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 rotWithShape="1"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0119424" y="6308476"/>
            <a:ext cx="1869404" cy="314521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 Placeholder 8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512696" y="3219910"/>
            <a:ext cx="7512659" cy="443301"/>
          </a:xfrm>
        </p:spPr>
        <p:txBody>
          <a:bodyPr/>
          <a:lstStyle>
            <a:lvl1pPr marL="0" indent="0">
              <a:buNone/>
              <a:defRPr lang="en-US" sz="3199" kern="1200" spc="-100" baseline="0" dirty="0">
                <a:solidFill>
                  <a:srgbClr val="FFFFFF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marL="0" lvl="0" indent="0" algn="l" defTabSz="91399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None/>
            </a:pPr>
            <a:r>
              <a:rPr lang="en-US" dirty="0"/>
              <a:t>Speaker Title</a:t>
            </a:r>
          </a:p>
        </p:txBody>
      </p:sp>
    </p:spTree>
    <p:extLst>
      <p:ext uri="{BB962C8B-B14F-4D97-AF65-F5344CB8AC3E}">
        <p14:creationId xmlns:p14="http://schemas.microsoft.com/office/powerpoint/2010/main" val="1212818552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Color 1 Layou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12697" y="1768886"/>
            <a:ext cx="11226978" cy="1219077"/>
          </a:xfrm>
        </p:spPr>
        <p:txBody>
          <a:bodyPr/>
          <a:lstStyle>
            <a:lvl1pPr marL="0" indent="0">
              <a:buNone/>
              <a:defRPr lang="en-US" sz="8796" i="0" kern="1200" spc="-100" baseline="0" dirty="0" smtClean="0">
                <a:solidFill>
                  <a:srgbClr val="FFFFFF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marL="0" lvl="0" indent="0" algn="l" defTabSz="91399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None/>
            </a:pPr>
            <a:r>
              <a:rPr lang="en-US" dirty="0"/>
              <a:t>Click to edit title style</a:t>
            </a:r>
          </a:p>
        </p:txBody>
      </p:sp>
      <p:pic>
        <p:nvPicPr>
          <p:cNvPr id="3" name="Picture 2" descr="Microsoft logo and tagline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 rotWithShape="1"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0119424" y="6308476"/>
            <a:ext cx="1869404" cy="314521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 Placeholder 8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512696" y="3219910"/>
            <a:ext cx="7512659" cy="443301"/>
          </a:xfrm>
        </p:spPr>
        <p:txBody>
          <a:bodyPr/>
          <a:lstStyle>
            <a:lvl1pPr marL="0" indent="0">
              <a:buNone/>
              <a:defRPr lang="en-US" sz="3199" kern="1200" spc="-100" baseline="0" dirty="0">
                <a:solidFill>
                  <a:srgbClr val="FFFFFF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marL="0" lvl="0" indent="0" algn="l" defTabSz="91399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None/>
            </a:pPr>
            <a:r>
              <a:rPr lang="en-US" dirty="0"/>
              <a:t>Speaker Title</a:t>
            </a:r>
          </a:p>
        </p:txBody>
      </p:sp>
    </p:spTree>
    <p:extLst>
      <p:ext uri="{BB962C8B-B14F-4D97-AF65-F5344CB8AC3E}">
        <p14:creationId xmlns:p14="http://schemas.microsoft.com/office/powerpoint/2010/main" val="60056659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269134" y="1191010"/>
            <a:ext cx="11648971" cy="21875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14 Microsoft Corporation. All rights reserved. Customer confidential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274DB-0FFC-40B0-A500-0E342E576A8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3905897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Color 1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12697" y="1768886"/>
            <a:ext cx="11226978" cy="1219077"/>
          </a:xfrm>
        </p:spPr>
        <p:txBody>
          <a:bodyPr/>
          <a:lstStyle>
            <a:lvl1pPr marL="0" indent="0">
              <a:buNone/>
              <a:defRPr lang="en-US" sz="8796" i="0" kern="1200" spc="-100" baseline="0" dirty="0" smtClean="0">
                <a:solidFill>
                  <a:srgbClr val="FFFFFF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marL="0" lvl="0" indent="0" algn="l" defTabSz="91399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None/>
            </a:pPr>
            <a:r>
              <a:rPr lang="en-US" dirty="0"/>
              <a:t>Click to edit title style</a:t>
            </a:r>
          </a:p>
        </p:txBody>
      </p:sp>
      <p:pic>
        <p:nvPicPr>
          <p:cNvPr id="3" name="Picture 2" descr="Microsoft logo and tagline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 rotWithShape="1"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0119424" y="6308476"/>
            <a:ext cx="1869404" cy="314521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 Placeholder 8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512696" y="3219910"/>
            <a:ext cx="7512659" cy="443301"/>
          </a:xfrm>
        </p:spPr>
        <p:txBody>
          <a:bodyPr/>
          <a:lstStyle>
            <a:lvl1pPr marL="0" indent="0">
              <a:buNone/>
              <a:defRPr lang="en-US" sz="3199" kern="1200" spc="-100" baseline="0" dirty="0">
                <a:solidFill>
                  <a:srgbClr val="FFFFFF"/>
                </a:soli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marL="0" lvl="0" indent="0" algn="l" defTabSz="91399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None/>
            </a:pPr>
            <a:r>
              <a:rPr lang="en-US" dirty="0"/>
              <a:t>Speaker Title</a:t>
            </a:r>
          </a:p>
        </p:txBody>
      </p:sp>
    </p:spTree>
    <p:extLst>
      <p:ext uri="{BB962C8B-B14F-4D97-AF65-F5344CB8AC3E}">
        <p14:creationId xmlns:p14="http://schemas.microsoft.com/office/powerpoint/2010/main" val="4095527230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Color 1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5013735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Color 2 Layou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30188354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Color 3 Layou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39770861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Color Layout 4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28569516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Color Layout 5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38748448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79718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34" y="1189452"/>
            <a:ext cx="11648971" cy="2187587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14 Microsoft Corporation. All rights reserved. Customer confidential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274DB-0FFC-40B0-A500-0E342E576A8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822210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36" y="1189452"/>
            <a:ext cx="5376447" cy="248715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0"/>
            </a:lvl2pPr>
            <a:lvl3pPr marL="227140" indent="0">
              <a:buNone/>
              <a:tabLst/>
              <a:defRPr sz="1960"/>
            </a:lvl3pPr>
            <a:lvl4pPr marL="451168" indent="0">
              <a:buNone/>
              <a:defRPr sz="1764"/>
            </a:lvl4pPr>
            <a:lvl5pPr marL="672084" indent="0">
              <a:buNone/>
              <a:tabLst/>
              <a:defRPr sz="176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1658" y="1189452"/>
            <a:ext cx="5376447" cy="248715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0"/>
            </a:lvl2pPr>
            <a:lvl3pPr marL="227140" indent="0">
              <a:buNone/>
              <a:tabLst/>
              <a:defRPr sz="1960"/>
            </a:lvl3pPr>
            <a:lvl4pPr marL="451168" indent="0">
              <a:buNone/>
              <a:defRPr sz="1764"/>
            </a:lvl4pPr>
            <a:lvl5pPr marL="672084" indent="0">
              <a:buNone/>
              <a:tabLst/>
              <a:defRPr sz="176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© 2014 Microsoft Corporation. All rights reserved. Customer confidential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B4274DB-0FFC-40B0-A500-0E342E576A8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143176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36" y="1189452"/>
            <a:ext cx="5376447" cy="248715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0"/>
            </a:lvl2pPr>
            <a:lvl3pPr marL="227140" indent="0">
              <a:buNone/>
              <a:tabLst/>
              <a:defRPr sz="1960"/>
            </a:lvl3pPr>
            <a:lvl4pPr marL="451168" indent="0">
              <a:buNone/>
              <a:defRPr sz="1764"/>
            </a:lvl4pPr>
            <a:lvl5pPr marL="672084" indent="0">
              <a:buNone/>
              <a:tabLst/>
              <a:defRPr sz="176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1658" y="1189451"/>
            <a:ext cx="5376447" cy="2420749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0"/>
            </a:lvl2pPr>
            <a:lvl3pPr marL="227140" indent="0">
              <a:buNone/>
              <a:tabLst/>
              <a:defRPr sz="1960"/>
            </a:lvl3pPr>
            <a:lvl4pPr marL="451168" indent="0">
              <a:buNone/>
              <a:defRPr sz="1764"/>
            </a:lvl4pPr>
            <a:lvl5pPr marL="672084" indent="0">
              <a:buNone/>
              <a:tabLst/>
              <a:defRPr sz="176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© 2014 Microsoft Corporation. All rights reserved. Customer confidential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B4274DB-0FFC-40B0-A500-0E342E576A8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229970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36" y="1189452"/>
            <a:ext cx="5376447" cy="2487153"/>
          </a:xfrm>
        </p:spPr>
        <p:txBody>
          <a:bodyPr wrap="square">
            <a:spAutoFit/>
          </a:bodyPr>
          <a:lstStyle>
            <a:lvl1pPr marL="281591" indent="-281591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8"/>
            </a:lvl1pPr>
            <a:lvl2pPr marL="520543" indent="-228531">
              <a:defRPr sz="1960"/>
            </a:lvl2pPr>
            <a:lvl3pPr marL="685593" indent="-165051">
              <a:tabLst/>
              <a:defRPr sz="1960"/>
            </a:lvl3pPr>
            <a:lvl4pPr marL="863339" indent="-177747">
              <a:defRPr sz="1764"/>
            </a:lvl4pPr>
            <a:lvl5pPr marL="1028389" indent="-165051">
              <a:tabLst/>
              <a:defRPr sz="176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1658" y="1189452"/>
            <a:ext cx="5376447" cy="2487153"/>
          </a:xfrm>
        </p:spPr>
        <p:txBody>
          <a:bodyPr wrap="square">
            <a:spAutoFit/>
          </a:bodyPr>
          <a:lstStyle>
            <a:lvl1pPr marL="281591" indent="-281591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8"/>
            </a:lvl1pPr>
            <a:lvl2pPr marL="520543" indent="-228531">
              <a:defRPr sz="1960"/>
            </a:lvl2pPr>
            <a:lvl3pPr marL="685593" indent="-165051">
              <a:tabLst/>
              <a:defRPr sz="1960"/>
            </a:lvl3pPr>
            <a:lvl4pPr marL="863339" indent="-177747">
              <a:defRPr sz="1764"/>
            </a:lvl4pPr>
            <a:lvl5pPr marL="1028389" indent="-165051">
              <a:tabLst/>
              <a:defRPr sz="176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© 2014 Microsoft Corporation. All rights reserved. Customer confidential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B4274DB-0FFC-40B0-A500-0E342E576A8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25230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36" y="1189451"/>
            <a:ext cx="5376447" cy="2619963"/>
          </a:xfrm>
        </p:spPr>
        <p:txBody>
          <a:bodyPr wrap="square">
            <a:spAutoFit/>
          </a:bodyPr>
          <a:lstStyle>
            <a:lvl1pPr marL="281591" indent="-281591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543" indent="-228531">
              <a:defRPr sz="2352"/>
            </a:lvl2pPr>
            <a:lvl3pPr marL="685593" indent="-165051">
              <a:tabLst/>
              <a:defRPr sz="2352"/>
            </a:lvl3pPr>
            <a:lvl4pPr marL="863339" indent="-177747">
              <a:defRPr/>
            </a:lvl4pPr>
            <a:lvl5pPr marL="1028389" indent="-16505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1658" y="1189451"/>
            <a:ext cx="5376447" cy="2619963"/>
          </a:xfrm>
        </p:spPr>
        <p:txBody>
          <a:bodyPr wrap="square">
            <a:spAutoFit/>
          </a:bodyPr>
          <a:lstStyle>
            <a:lvl1pPr marL="281591" indent="-281591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543" indent="-228531">
              <a:defRPr sz="2352"/>
            </a:lvl2pPr>
            <a:lvl3pPr marL="685593" indent="-165051">
              <a:tabLst/>
              <a:defRPr sz="2352"/>
            </a:lvl3pPr>
            <a:lvl4pPr marL="863339" indent="-177747">
              <a:defRPr/>
            </a:lvl4pPr>
            <a:lvl5pPr marL="1028389" indent="-16505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© 2014 Microsoft Corporation. All rights reserved. Customer confidential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B4274DB-0FFC-40B0-A500-0E342E576A8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42205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0998" y="3878168"/>
            <a:ext cx="6270968" cy="1795077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198" y="2084669"/>
            <a:ext cx="9856759" cy="1793519"/>
          </a:xfrm>
          <a:noFill/>
        </p:spPr>
        <p:txBody>
          <a:bodyPr lIns="146304" tIns="91440" rIns="146304" bIns="91440" anchor="t" anchorCtr="0"/>
          <a:lstStyle>
            <a:lvl1pPr>
              <a:defRPr sz="5880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9644" y="471233"/>
            <a:ext cx="2506483" cy="537335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229881" y="356954"/>
            <a:ext cx="2688224" cy="507090"/>
          </a:xfrm>
        </p:spPr>
        <p:txBody>
          <a:bodyPr/>
          <a:lstStyle>
            <a:lvl1pPr marL="0" indent="0" algn="r">
              <a:buNone/>
              <a:defRPr sz="2352"/>
            </a:lvl1pPr>
          </a:lstStyle>
          <a:p>
            <a:pPr lvl="0"/>
            <a:r>
              <a:rPr lang="en-US" dirty="0"/>
              <a:t>Session Code</a:t>
            </a:r>
          </a:p>
        </p:txBody>
      </p:sp>
    </p:spTree>
    <p:extLst>
      <p:ext uri="{BB962C8B-B14F-4D97-AF65-F5344CB8AC3E}">
        <p14:creationId xmlns:p14="http://schemas.microsoft.com/office/powerpoint/2010/main" val="28067111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02">
          <p15:clr>
            <a:srgbClr val="C35EA4"/>
          </p15:clr>
        </p15:guide>
        <p15:guide id="2" orient="horz" pos="4104">
          <p15:clr>
            <a:srgbClr val="C35EA4"/>
          </p15:clr>
        </p15:guide>
        <p15:guide id="3" pos="288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2014 Microsoft Corporation. All rights reserved. Customer confidential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B4274DB-0FFC-40B0-A500-0E342E576A8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30285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2014 Microsoft Corporation. All rights reserved. Customer confidential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B4274DB-0FFC-40B0-A500-0E342E576A8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212716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2979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69633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1144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Accent Color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44009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Accent Color 3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8941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Accent Colo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87601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85980" y="6524786"/>
            <a:ext cx="10278951" cy="198246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914087"/>
            <a:r>
              <a:rPr lang="en-US" dirty="0"/>
              <a:t>© 2014 Microsoft Corporation. All rights reserved. Customer confidential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0464932" y="6524786"/>
            <a:ext cx="1523008" cy="198246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914087"/>
            <a:fld id="{C3D6BEE0-1E9A-4453-8C9A-5A2AC37A7971}" type="slidenum">
              <a:rPr lang="en-US" smtClean="0"/>
              <a:pPr defTabSz="914087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704728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0998" y="3878168"/>
            <a:ext cx="9854958" cy="179507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198" y="2076321"/>
            <a:ext cx="9856759" cy="1801853"/>
          </a:xfrm>
          <a:noFill/>
        </p:spPr>
        <p:txBody>
          <a:bodyPr lIns="146304" tIns="91440" rIns="146304" bIns="91440" anchor="t" anchorCtr="0"/>
          <a:lstStyle>
            <a:lvl1pPr>
              <a:defRPr sz="5880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203213" y="470520"/>
            <a:ext cx="1521809" cy="326241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9134" y="291136"/>
            <a:ext cx="1792149" cy="1793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6888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269197" y="1187919"/>
            <a:ext cx="9856759" cy="269025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3372" tIns="107529" rIns="143372" bIns="10752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97" y="1187919"/>
            <a:ext cx="9855265" cy="2698613"/>
          </a:xfrm>
          <a:noFill/>
        </p:spPr>
        <p:txBody>
          <a:bodyPr tIns="91440" bIns="91440" anchor="t" anchorCtr="0"/>
          <a:lstStyle>
            <a:lvl1pPr>
              <a:defRPr sz="7056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134" y="3878169"/>
            <a:ext cx="9856823" cy="1794297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015223081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269134" y="2084655"/>
            <a:ext cx="8960747" cy="358703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5" tIns="143372" rIns="179215" bIns="1433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197" y="2084670"/>
            <a:ext cx="8960684" cy="1793505"/>
          </a:xfrm>
          <a:noFill/>
        </p:spPr>
        <p:txBody>
          <a:bodyPr lIns="146304" tIns="91440" rIns="146304" bIns="91440" anchor="t" anchorCtr="0"/>
          <a:lstStyle>
            <a:lvl1pPr>
              <a:defRPr sz="588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196" y="3879472"/>
            <a:ext cx="8960685" cy="179274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203213" y="470520"/>
            <a:ext cx="1521809" cy="326241"/>
          </a:xfrm>
          <a:prstGeom prst="rect">
            <a:avLst/>
          </a:prstGeom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9134" y="291150"/>
            <a:ext cx="1792149" cy="1793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1362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82504" cy="6859588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 bwMode="gray">
          <a:xfrm>
            <a:off x="269134" y="1935195"/>
            <a:ext cx="6347195" cy="3736499"/>
          </a:xfrm>
          <a:prstGeom prst="rect">
            <a:avLst/>
          </a:prstGeom>
          <a:solidFill>
            <a:schemeClr val="accent1">
              <a:alpha val="93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5" tIns="143372" rIns="179215" bIns="1433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197" y="1935195"/>
            <a:ext cx="6347132" cy="1942980"/>
          </a:xfrm>
          <a:noFill/>
        </p:spPr>
        <p:txBody>
          <a:bodyPr lIns="146304" tIns="91440" rIns="146304" bIns="91440" anchor="t" anchorCtr="0"/>
          <a:lstStyle>
            <a:lvl1pPr>
              <a:defRPr sz="588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269197" y="3881289"/>
            <a:ext cx="6347132" cy="179040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baseline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410" y="6062826"/>
            <a:ext cx="1521809" cy="326242"/>
          </a:xfrm>
          <a:prstGeom prst="rect">
            <a:avLst/>
          </a:prstGeom>
        </p:spPr>
      </p:pic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9134" y="291150"/>
            <a:ext cx="1792149" cy="1640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9080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69197" y="1187919"/>
            <a:ext cx="9856759" cy="269025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5" tIns="143372" rIns="179215" bIns="1433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35" y="1186630"/>
            <a:ext cx="9855265" cy="2698613"/>
          </a:xfrm>
          <a:noFill/>
        </p:spPr>
        <p:txBody>
          <a:bodyPr tIns="91440" bIns="91440" anchor="t" anchorCtr="0"/>
          <a:lstStyle>
            <a:lvl1pPr>
              <a:defRPr sz="7056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134" y="3878175"/>
            <a:ext cx="9856823" cy="1794297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56665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69197" y="1187919"/>
            <a:ext cx="9856759" cy="2690255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5" tIns="143372" rIns="179215" bIns="1433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35" y="1186630"/>
            <a:ext cx="9855265" cy="2698613"/>
          </a:xfrm>
          <a:noFill/>
        </p:spPr>
        <p:txBody>
          <a:bodyPr tIns="91440" bIns="91440" anchor="t" anchorCtr="0"/>
          <a:lstStyle>
            <a:lvl1pPr>
              <a:defRPr sz="7056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289764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34" y="2084655"/>
            <a:ext cx="11648971" cy="1796633"/>
          </a:xfrm>
          <a:noFill/>
        </p:spPr>
        <p:txBody>
          <a:bodyPr tIns="91440" bIns="91440" anchor="t" anchorCtr="0"/>
          <a:lstStyle>
            <a:lvl1pPr>
              <a:defRPr sz="862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725621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34" y="2084655"/>
            <a:ext cx="11648971" cy="1796633"/>
          </a:xfrm>
          <a:noFill/>
        </p:spPr>
        <p:txBody>
          <a:bodyPr tIns="91440" bIns="91440" anchor="t" anchorCtr="0"/>
          <a:lstStyle>
            <a:lvl1pPr>
              <a:defRPr sz="862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115824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34" y="2084655"/>
            <a:ext cx="11648971" cy="1796633"/>
          </a:xfrm>
          <a:noFill/>
        </p:spPr>
        <p:txBody>
          <a:bodyPr tIns="91440" bIns="91440" anchor="t" anchorCtr="0"/>
          <a:lstStyle>
            <a:lvl1pPr>
              <a:defRPr sz="862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9198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134" y="1189452"/>
            <a:ext cx="11648971" cy="1834669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4028" indent="0">
              <a:buNone/>
              <a:defRPr/>
            </a:lvl3pPr>
            <a:lvl4pPr marL="448056" indent="0">
              <a:buNone/>
              <a:defRPr/>
            </a:lvl4pPr>
            <a:lvl5pPr marL="67208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95149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134" y="1189452"/>
            <a:ext cx="11648971" cy="1834669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4028" indent="0">
              <a:buNone/>
              <a:defRPr/>
            </a:lvl3pPr>
            <a:lvl4pPr marL="448056" indent="0">
              <a:buNone/>
              <a:defRPr/>
            </a:lvl4pPr>
            <a:lvl5pPr marL="67208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22373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34" y="1189452"/>
            <a:ext cx="11648971" cy="1834669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329854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35" y="1186630"/>
            <a:ext cx="9855265" cy="2698613"/>
          </a:xfrm>
          <a:noFill/>
        </p:spPr>
        <p:txBody>
          <a:bodyPr tIns="91440" bIns="91440" anchor="t" anchorCtr="0"/>
          <a:lstStyle>
            <a:lvl1pPr>
              <a:defRPr sz="7056" spc="-98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134" y="3878169"/>
            <a:ext cx="9856823" cy="1794297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8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0833512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34" y="1189452"/>
            <a:ext cx="11648971" cy="1834669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10308193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36" y="1189451"/>
            <a:ext cx="5376447" cy="2420749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0"/>
            </a:lvl2pPr>
            <a:lvl3pPr marL="227140" indent="0">
              <a:buNone/>
              <a:tabLst/>
              <a:defRPr sz="1960"/>
            </a:lvl3pPr>
            <a:lvl4pPr marL="451168" indent="0">
              <a:buNone/>
              <a:defRPr/>
            </a:lvl4pPr>
            <a:lvl5pPr marL="672084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1658" y="1189451"/>
            <a:ext cx="5376447" cy="2420749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0"/>
            </a:lvl2pPr>
            <a:lvl3pPr marL="227140" indent="0">
              <a:buNone/>
              <a:tabLst/>
              <a:defRPr sz="1960"/>
            </a:lvl3pPr>
            <a:lvl4pPr marL="451168" indent="0">
              <a:buNone/>
              <a:defRPr/>
            </a:lvl4pPr>
            <a:lvl5pPr marL="672084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84353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36" y="1189451"/>
            <a:ext cx="5376447" cy="2420749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0"/>
            </a:lvl2pPr>
            <a:lvl3pPr marL="227140" indent="0">
              <a:buNone/>
              <a:tabLst/>
              <a:defRPr sz="1960"/>
            </a:lvl3pPr>
            <a:lvl4pPr marL="451168" indent="0">
              <a:buNone/>
              <a:defRPr/>
            </a:lvl4pPr>
            <a:lvl5pPr marL="672084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1658" y="1189451"/>
            <a:ext cx="5376447" cy="2420749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8"/>
            </a:lvl1pPr>
            <a:lvl2pPr marL="0" indent="0">
              <a:buNone/>
              <a:defRPr sz="1960"/>
            </a:lvl2pPr>
            <a:lvl3pPr marL="227140" indent="0">
              <a:buNone/>
              <a:tabLst/>
              <a:defRPr sz="1960"/>
            </a:lvl3pPr>
            <a:lvl4pPr marL="451168" indent="0">
              <a:buNone/>
              <a:defRPr/>
            </a:lvl4pPr>
            <a:lvl5pPr marL="672084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923542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36" y="1189452"/>
            <a:ext cx="5376447" cy="2487153"/>
          </a:xfrm>
        </p:spPr>
        <p:txBody>
          <a:bodyPr wrap="square">
            <a:spAutoFit/>
          </a:bodyPr>
          <a:lstStyle>
            <a:lvl1pPr marL="281591" indent="-281591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8"/>
            </a:lvl1pPr>
            <a:lvl2pPr marL="520543" indent="-228531">
              <a:defRPr sz="2352"/>
            </a:lvl2pPr>
            <a:lvl3pPr marL="685593" indent="-165051">
              <a:tabLst/>
              <a:defRPr sz="1960"/>
            </a:lvl3pPr>
            <a:lvl4pPr marL="863339" indent="-177747">
              <a:defRPr/>
            </a:lvl4pPr>
            <a:lvl5pPr marL="1028389" indent="-16505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1658" y="1189452"/>
            <a:ext cx="5376447" cy="2487153"/>
          </a:xfrm>
        </p:spPr>
        <p:txBody>
          <a:bodyPr wrap="square">
            <a:spAutoFit/>
          </a:bodyPr>
          <a:lstStyle>
            <a:lvl1pPr marL="281591" indent="-281591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8"/>
            </a:lvl1pPr>
            <a:lvl2pPr marL="520543" indent="-228531">
              <a:defRPr sz="2352"/>
            </a:lvl2pPr>
            <a:lvl3pPr marL="685593" indent="-165051">
              <a:tabLst/>
              <a:defRPr sz="1960"/>
            </a:lvl3pPr>
            <a:lvl4pPr marL="863339" indent="-177747">
              <a:defRPr/>
            </a:lvl4pPr>
            <a:lvl5pPr marL="1028389" indent="-16505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594718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36" y="1189452"/>
            <a:ext cx="5376447" cy="2487153"/>
          </a:xfrm>
        </p:spPr>
        <p:txBody>
          <a:bodyPr wrap="square">
            <a:spAutoFit/>
          </a:bodyPr>
          <a:lstStyle>
            <a:lvl1pPr marL="281591" indent="-281591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543" indent="-228531">
              <a:defRPr sz="2352"/>
            </a:lvl2pPr>
            <a:lvl3pPr marL="685593" indent="-165051">
              <a:tabLst/>
              <a:defRPr sz="1960"/>
            </a:lvl3pPr>
            <a:lvl4pPr marL="863339" indent="-177747">
              <a:defRPr/>
            </a:lvl4pPr>
            <a:lvl5pPr marL="1028389" indent="-16505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1658" y="1189452"/>
            <a:ext cx="5376447" cy="2487153"/>
          </a:xfrm>
        </p:spPr>
        <p:txBody>
          <a:bodyPr wrap="square">
            <a:spAutoFit/>
          </a:bodyPr>
          <a:lstStyle>
            <a:lvl1pPr marL="281591" indent="-281591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543" indent="-228531">
              <a:defRPr sz="2352"/>
            </a:lvl2pPr>
            <a:lvl3pPr marL="685593" indent="-165051">
              <a:tabLst/>
              <a:defRPr sz="1960"/>
            </a:lvl3pPr>
            <a:lvl4pPr marL="863339" indent="-177747">
              <a:defRPr/>
            </a:lvl4pPr>
            <a:lvl5pPr marL="1028389" indent="-16505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09046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2194763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440082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07917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82845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7158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269197" y="1187919"/>
            <a:ext cx="9856759" cy="2690255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5" tIns="143372" rIns="179215" bIns="1433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2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97" y="1187919"/>
            <a:ext cx="9855265" cy="2698613"/>
          </a:xfrm>
          <a:noFill/>
        </p:spPr>
        <p:txBody>
          <a:bodyPr tIns="91440" bIns="91440" anchor="t" anchorCtr="0"/>
          <a:lstStyle>
            <a:lvl1pPr>
              <a:defRPr sz="7056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733739272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451"/>
            <a:ext cx="12187238" cy="5670137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4" tIns="45704" rIns="45704" bIns="457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23" fontAlgn="base">
              <a:spcBef>
                <a:spcPct val="0"/>
              </a:spcBef>
              <a:spcAft>
                <a:spcPct val="0"/>
              </a:spcAft>
            </a:pPr>
            <a:endParaRPr lang="en-US" sz="176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134" y="1197599"/>
            <a:ext cx="11648970" cy="1794017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1pPr>
            <a:lvl2pPr marL="33962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2pPr>
            <a:lvl3pPr marL="57291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3pPr>
            <a:lvl4pPr marL="79827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4pPr>
            <a:lvl5pPr marL="102997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8183655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134" y="1189452"/>
            <a:ext cx="11648971" cy="2396602"/>
          </a:xfrm>
          <a:prstGeom prst="rect">
            <a:avLst/>
          </a:prstGeom>
        </p:spPr>
        <p:txBody>
          <a:bodyPr/>
          <a:lstStyle>
            <a:lvl1pPr marL="284703" indent="-284703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70" indent="-275368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73" indent="-284703">
              <a:buClr>
                <a:schemeClr val="tx1"/>
              </a:buClr>
              <a:buSzPct val="90000"/>
              <a:buFont typeface="Arial" pitchFamily="34" charset="0"/>
              <a:buChar char="•"/>
              <a:defRPr sz="274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801" indent="-224028">
              <a:buClr>
                <a:schemeClr val="tx1"/>
              </a:buClr>
              <a:buSzPct val="90000"/>
              <a:buFont typeface="Arial" pitchFamily="34" charset="0"/>
              <a:buChar char="•"/>
              <a:defRPr sz="235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829" indent="-224028">
              <a:buClr>
                <a:schemeClr val="tx1"/>
              </a:buClr>
              <a:buSzPct val="90000"/>
              <a:buFont typeface="Arial" pitchFamily="34" charset="0"/>
              <a:buChar char="•"/>
              <a:defRPr sz="19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40321"/>
            <a:ext cx="12187239" cy="619268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989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icrosoft log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87238" cy="68595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39" tIns="38068" rIns="76139" bIns="38068" rtlCol="0" anchor="ctr"/>
          <a:lstStyle/>
          <a:p>
            <a:pPr algn="ctr" defTabSz="914087"/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87238" cy="68595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39" tIns="38068" rIns="76139" bIns="38068" rtlCol="0" anchor="ctr"/>
          <a:lstStyle/>
          <a:p>
            <a:pPr algn="ctr" defTabSz="914087"/>
            <a:endParaRPr lang="en-US" sz="1799" dirty="0">
              <a:solidFill>
                <a:srgbClr val="FFFFF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058" y="2899910"/>
            <a:ext cx="2879992" cy="1059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60359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1381718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ltGray">
          <a:xfrm>
            <a:off x="269135" y="2084655"/>
            <a:ext cx="8960747" cy="358703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078" tIns="143262" rIns="179078" bIns="143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18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197" y="2084670"/>
            <a:ext cx="8960684" cy="1793505"/>
          </a:xfrm>
          <a:noFill/>
        </p:spPr>
        <p:txBody>
          <a:bodyPr lIns="146304" tIns="91440" rIns="146304" bIns="91440" anchor="t" anchorCtr="0"/>
          <a:lstStyle>
            <a:lvl1pPr>
              <a:defRPr sz="5876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9644" y="471234"/>
            <a:ext cx="2506488" cy="53733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197" y="3879473"/>
            <a:ext cx="8960685" cy="179274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6" spc="0" baseline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9229881" y="348726"/>
            <a:ext cx="2688224" cy="506898"/>
          </a:xfrm>
        </p:spPr>
        <p:txBody>
          <a:bodyPr/>
          <a:lstStyle>
            <a:lvl1pPr marL="0" indent="0" algn="r">
              <a:buNone/>
              <a:defRPr sz="2350"/>
            </a:lvl1pPr>
          </a:lstStyle>
          <a:p>
            <a:pPr lvl="0"/>
            <a:r>
              <a:rPr lang="en-US" dirty="0"/>
              <a:t>Session Code</a:t>
            </a:r>
          </a:p>
        </p:txBody>
      </p:sp>
    </p:spTree>
    <p:extLst>
      <p:ext uri="{BB962C8B-B14F-4D97-AF65-F5344CB8AC3E}">
        <p14:creationId xmlns:p14="http://schemas.microsoft.com/office/powerpoint/2010/main" val="1113030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288">
          <p15:clr>
            <a:srgbClr val="C35EA4"/>
          </p15:clr>
        </p15:guide>
        <p15:guide id="2" pos="7546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orient="horz" pos="4104">
          <p15:clr>
            <a:srgbClr val="C35E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0998" y="3878168"/>
            <a:ext cx="6270968" cy="1795077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199" y="2084670"/>
            <a:ext cx="9856759" cy="1793519"/>
          </a:xfrm>
          <a:noFill/>
        </p:spPr>
        <p:txBody>
          <a:bodyPr lIns="146304" tIns="91440" rIns="146304" bIns="91440" anchor="t" anchorCtr="0"/>
          <a:lstStyle>
            <a:lvl1pPr>
              <a:defRPr sz="5876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9644" y="471234"/>
            <a:ext cx="2506483" cy="537335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229881" y="356955"/>
            <a:ext cx="2688224" cy="507090"/>
          </a:xfrm>
        </p:spPr>
        <p:txBody>
          <a:bodyPr/>
          <a:lstStyle>
            <a:lvl1pPr marL="0" indent="0" algn="r">
              <a:buNone/>
              <a:defRPr sz="2350"/>
            </a:lvl1pPr>
          </a:lstStyle>
          <a:p>
            <a:pPr lvl="0"/>
            <a:r>
              <a:rPr lang="en-US" dirty="0"/>
              <a:t>Session Code</a:t>
            </a:r>
          </a:p>
        </p:txBody>
      </p:sp>
    </p:spTree>
    <p:extLst>
      <p:ext uri="{BB962C8B-B14F-4D97-AF65-F5344CB8AC3E}">
        <p14:creationId xmlns:p14="http://schemas.microsoft.com/office/powerpoint/2010/main" val="15915882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02">
          <p15:clr>
            <a:srgbClr val="C35EA4"/>
          </p15:clr>
        </p15:guide>
        <p15:guide id="2" orient="horz" pos="4104">
          <p15:clr>
            <a:srgbClr val="C35EA4"/>
          </p15:clr>
        </p15:guide>
        <p15:guide id="3" pos="288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269198" y="1187919"/>
            <a:ext cx="9856759" cy="269025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3262" tIns="107447" rIns="143262" bIns="107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18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98" y="1187920"/>
            <a:ext cx="9855265" cy="2698613"/>
          </a:xfrm>
          <a:noFill/>
        </p:spPr>
        <p:txBody>
          <a:bodyPr tIns="91440" bIns="91440" anchor="t" anchorCtr="0"/>
          <a:lstStyle>
            <a:lvl1pPr>
              <a:defRPr sz="7051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135" y="3878170"/>
            <a:ext cx="9856823" cy="1794297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100757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35" y="1186630"/>
            <a:ext cx="9855265" cy="2698613"/>
          </a:xfrm>
          <a:noFill/>
        </p:spPr>
        <p:txBody>
          <a:bodyPr tIns="91440" bIns="91440" anchor="t" anchorCtr="0"/>
          <a:lstStyle>
            <a:lvl1pPr>
              <a:defRPr sz="7051" spc="-98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135" y="3878170"/>
            <a:ext cx="9856823" cy="1794297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6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590176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269198" y="1187919"/>
            <a:ext cx="9856759" cy="2690255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078" tIns="143262" rIns="179078" bIns="143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18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98" y="1187920"/>
            <a:ext cx="9855265" cy="2698613"/>
          </a:xfrm>
          <a:noFill/>
        </p:spPr>
        <p:txBody>
          <a:bodyPr tIns="91440" bIns="91440" anchor="t" anchorCtr="0"/>
          <a:lstStyle>
            <a:lvl1pPr>
              <a:defRPr sz="7051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424585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35" y="1186630"/>
            <a:ext cx="9855265" cy="2698613"/>
          </a:xfrm>
          <a:noFill/>
        </p:spPr>
        <p:txBody>
          <a:bodyPr tIns="91440" bIns="91440" anchor="t" anchorCtr="0"/>
          <a:lstStyle>
            <a:lvl1pPr>
              <a:defRPr sz="7051" spc="-98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6021432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35" y="1186630"/>
            <a:ext cx="9855265" cy="2698613"/>
          </a:xfrm>
          <a:noFill/>
        </p:spPr>
        <p:txBody>
          <a:bodyPr tIns="91440" bIns="91440" anchor="t" anchorCtr="0"/>
          <a:lstStyle>
            <a:lvl1pPr>
              <a:defRPr sz="7056" spc="-98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0870985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35" y="2084656"/>
            <a:ext cx="11648971" cy="1796633"/>
          </a:xfrm>
          <a:noFill/>
        </p:spPr>
        <p:txBody>
          <a:bodyPr tIns="91440" bIns="91440" anchor="t" anchorCtr="0"/>
          <a:lstStyle>
            <a:lvl1pPr>
              <a:defRPr sz="861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83745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35" y="2084656"/>
            <a:ext cx="11648971" cy="1796633"/>
          </a:xfrm>
          <a:noFill/>
        </p:spPr>
        <p:txBody>
          <a:bodyPr tIns="91440" bIns="91440" anchor="t" anchorCtr="0"/>
          <a:lstStyle>
            <a:lvl1pPr>
              <a:defRPr sz="861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651879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35" y="2084656"/>
            <a:ext cx="11648971" cy="1796633"/>
          </a:xfrm>
          <a:noFill/>
        </p:spPr>
        <p:txBody>
          <a:bodyPr tIns="91440" bIns="91440" anchor="t" anchorCtr="0"/>
          <a:lstStyle>
            <a:lvl1pPr>
              <a:defRPr sz="861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217860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35" y="2084656"/>
            <a:ext cx="11648971" cy="1796633"/>
          </a:xfrm>
          <a:noFill/>
        </p:spPr>
        <p:txBody>
          <a:bodyPr tIns="91440" bIns="91440" anchor="t" anchorCtr="0"/>
          <a:lstStyle>
            <a:lvl1pPr>
              <a:defRPr sz="861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0119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Title Accent Color 3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35" y="2084656"/>
            <a:ext cx="11648971" cy="1796633"/>
          </a:xfrm>
          <a:noFill/>
        </p:spPr>
        <p:txBody>
          <a:bodyPr tIns="91440" bIns="91440" anchor="t" anchorCtr="0"/>
          <a:lstStyle>
            <a:lvl1pPr>
              <a:defRPr sz="861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31688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135" y="1189452"/>
            <a:ext cx="11648971" cy="2052506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59"/>
            </a:lvl2pPr>
            <a:lvl3pPr marL="223872" indent="0">
              <a:buNone/>
              <a:defRPr sz="1959"/>
            </a:lvl3pPr>
            <a:lvl4pPr marL="447745" indent="0">
              <a:buNone/>
              <a:defRPr sz="1763"/>
            </a:lvl4pPr>
            <a:lvl5pPr marL="671618" indent="0">
              <a:buNone/>
              <a:defRPr sz="176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093263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135" y="1189452"/>
            <a:ext cx="11648971" cy="2052506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59"/>
            </a:lvl2pPr>
            <a:lvl3pPr marL="223872" indent="0">
              <a:buNone/>
              <a:defRPr sz="1959"/>
            </a:lvl3pPr>
            <a:lvl4pPr marL="447745" indent="0">
              <a:buNone/>
              <a:defRPr sz="1763"/>
            </a:lvl4pPr>
            <a:lvl5pPr marL="671618" indent="0">
              <a:buNone/>
              <a:defRPr sz="176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998840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269135" y="1191010"/>
            <a:ext cx="11648971" cy="21875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88883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35" y="1189452"/>
            <a:ext cx="11648971" cy="2187587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3976347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37" y="1189453"/>
            <a:ext cx="5376447" cy="248715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59"/>
            </a:lvl2pPr>
            <a:lvl3pPr marL="226983" indent="0">
              <a:buNone/>
              <a:tabLst/>
              <a:defRPr sz="1959"/>
            </a:lvl3pPr>
            <a:lvl4pPr marL="450855" indent="0">
              <a:buNone/>
              <a:defRPr sz="1763"/>
            </a:lvl4pPr>
            <a:lvl5pPr marL="671618" indent="0">
              <a:buNone/>
              <a:tabLst/>
              <a:defRPr sz="176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1659" y="1189453"/>
            <a:ext cx="5376447" cy="248715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59"/>
            </a:lvl2pPr>
            <a:lvl3pPr marL="226983" indent="0">
              <a:buNone/>
              <a:tabLst/>
              <a:defRPr sz="1959"/>
            </a:lvl3pPr>
            <a:lvl4pPr marL="450855" indent="0">
              <a:buNone/>
              <a:defRPr sz="1763"/>
            </a:lvl4pPr>
            <a:lvl5pPr marL="671618" indent="0">
              <a:buNone/>
              <a:tabLst/>
              <a:defRPr sz="176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95045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34" y="2084655"/>
            <a:ext cx="11648971" cy="1796633"/>
          </a:xfrm>
          <a:noFill/>
        </p:spPr>
        <p:txBody>
          <a:bodyPr tIns="91440" bIns="91440" anchor="t" anchorCtr="0"/>
          <a:lstStyle>
            <a:lvl1pPr>
              <a:defRPr sz="862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855808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37" y="1189453"/>
            <a:ext cx="5376447" cy="248715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6"/>
            </a:lvl1pPr>
            <a:lvl2pPr marL="0" indent="0">
              <a:buNone/>
              <a:defRPr sz="1959"/>
            </a:lvl2pPr>
            <a:lvl3pPr marL="226983" indent="0">
              <a:buNone/>
              <a:tabLst/>
              <a:defRPr sz="1959"/>
            </a:lvl3pPr>
            <a:lvl4pPr marL="450855" indent="0">
              <a:buNone/>
              <a:defRPr sz="1763"/>
            </a:lvl4pPr>
            <a:lvl5pPr marL="671618" indent="0">
              <a:buNone/>
              <a:tabLst/>
              <a:defRPr sz="176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1659" y="1189452"/>
            <a:ext cx="5376447" cy="2420749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6"/>
            </a:lvl1pPr>
            <a:lvl2pPr marL="0" indent="0">
              <a:buNone/>
              <a:defRPr sz="1959"/>
            </a:lvl2pPr>
            <a:lvl3pPr marL="226983" indent="0">
              <a:buNone/>
              <a:tabLst/>
              <a:defRPr sz="1959"/>
            </a:lvl3pPr>
            <a:lvl4pPr marL="450855" indent="0">
              <a:buNone/>
              <a:defRPr sz="1763"/>
            </a:lvl4pPr>
            <a:lvl5pPr marL="671618" indent="0">
              <a:buNone/>
              <a:tabLst/>
              <a:defRPr sz="176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466380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37" y="1189453"/>
            <a:ext cx="5376447" cy="2487153"/>
          </a:xfrm>
        </p:spPr>
        <p:txBody>
          <a:bodyPr wrap="square">
            <a:spAutoFit/>
          </a:bodyPr>
          <a:lstStyle>
            <a:lvl1pPr marL="281395" indent="-28139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6"/>
            </a:lvl1pPr>
            <a:lvl2pPr marL="520182" indent="-228372">
              <a:defRPr sz="1959"/>
            </a:lvl2pPr>
            <a:lvl3pPr marL="685117" indent="-164937">
              <a:tabLst/>
              <a:defRPr sz="1959"/>
            </a:lvl3pPr>
            <a:lvl4pPr marL="862740" indent="-177624">
              <a:defRPr sz="1763"/>
            </a:lvl4pPr>
            <a:lvl5pPr marL="1027675" indent="-164937">
              <a:tabLst/>
              <a:defRPr sz="176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1659" y="1189453"/>
            <a:ext cx="5376447" cy="2487153"/>
          </a:xfrm>
        </p:spPr>
        <p:txBody>
          <a:bodyPr wrap="square">
            <a:spAutoFit/>
          </a:bodyPr>
          <a:lstStyle>
            <a:lvl1pPr marL="281395" indent="-281395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6"/>
            </a:lvl1pPr>
            <a:lvl2pPr marL="520182" indent="-228372">
              <a:defRPr sz="1959"/>
            </a:lvl2pPr>
            <a:lvl3pPr marL="685117" indent="-164937">
              <a:tabLst/>
              <a:defRPr sz="1959"/>
            </a:lvl3pPr>
            <a:lvl4pPr marL="862740" indent="-177624">
              <a:defRPr sz="1763"/>
            </a:lvl4pPr>
            <a:lvl5pPr marL="1027675" indent="-164937">
              <a:tabLst/>
              <a:defRPr sz="176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5333241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37" y="1189452"/>
            <a:ext cx="5376447" cy="2619963"/>
          </a:xfrm>
        </p:spPr>
        <p:txBody>
          <a:bodyPr wrap="square">
            <a:spAutoFit/>
          </a:bodyPr>
          <a:lstStyle>
            <a:lvl1pPr marL="281395" indent="-28139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182" indent="-228372">
              <a:defRPr sz="2350"/>
            </a:lvl2pPr>
            <a:lvl3pPr marL="685117" indent="-164937">
              <a:tabLst/>
              <a:defRPr sz="2350"/>
            </a:lvl3pPr>
            <a:lvl4pPr marL="862740" indent="-177624">
              <a:defRPr/>
            </a:lvl4pPr>
            <a:lvl5pPr marL="1027675" indent="-16493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1659" y="1189452"/>
            <a:ext cx="5376447" cy="2619963"/>
          </a:xfrm>
        </p:spPr>
        <p:txBody>
          <a:bodyPr wrap="square">
            <a:spAutoFit/>
          </a:bodyPr>
          <a:lstStyle>
            <a:lvl1pPr marL="281395" indent="-281395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182" indent="-228372">
              <a:defRPr sz="2350"/>
            </a:lvl2pPr>
            <a:lvl3pPr marL="685117" indent="-164937">
              <a:tabLst/>
              <a:defRPr sz="2350"/>
            </a:lvl3pPr>
            <a:lvl4pPr marL="862740" indent="-177624">
              <a:defRPr/>
            </a:lvl4pPr>
            <a:lvl5pPr marL="1027675" indent="-16493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816359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8442630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3515445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36084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88558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96355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Accent Color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44938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Accent Color 3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93621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34" y="2084655"/>
            <a:ext cx="11648971" cy="1796633"/>
          </a:xfrm>
          <a:noFill/>
        </p:spPr>
        <p:txBody>
          <a:bodyPr tIns="91440" bIns="91440" anchor="t" anchorCtr="0"/>
          <a:lstStyle>
            <a:lvl1pPr>
              <a:defRPr sz="862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6482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Accent Colo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27733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452"/>
            <a:ext cx="12187238" cy="5670137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69" tIns="45669" rIns="45669" bIns="456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18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6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134" y="1192692"/>
            <a:ext cx="11648970" cy="2090235"/>
          </a:xfrm>
        </p:spPr>
        <p:txBody>
          <a:bodyPr/>
          <a:lstStyle>
            <a:lvl1pPr marL="0" indent="0">
              <a:buNone/>
              <a:defRPr sz="3232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3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51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7718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2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5059807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135" y="1189452"/>
            <a:ext cx="11648971" cy="2396602"/>
          </a:xfrm>
          <a:prstGeom prst="rect">
            <a:avLst/>
          </a:prstGeom>
        </p:spPr>
        <p:txBody>
          <a:bodyPr/>
          <a:lstStyle>
            <a:lvl1pPr marL="284506" indent="-284506">
              <a:buClr>
                <a:schemeClr val="tx1"/>
              </a:buClr>
              <a:buSzPct val="90000"/>
              <a:buFont typeface="Arial" pitchFamily="34" charset="0"/>
              <a:buChar char="•"/>
              <a:defRPr sz="352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59681" indent="-275177">
              <a:buClr>
                <a:schemeClr val="tx1"/>
              </a:buClr>
              <a:buSzPct val="90000"/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187" indent="-284506">
              <a:buClr>
                <a:schemeClr val="tx1"/>
              </a:buClr>
              <a:buSzPct val="90000"/>
              <a:buFont typeface="Arial" pitchFamily="34" charset="0"/>
              <a:buChar char="•"/>
              <a:defRPr sz="274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059" indent="-223872">
              <a:buClr>
                <a:schemeClr val="tx1"/>
              </a:buClr>
              <a:buSzPct val="90000"/>
              <a:buFont typeface="Arial" pitchFamily="34" charset="0"/>
              <a:buChar char="•"/>
              <a:defRPr sz="235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1932" indent="-223872">
              <a:buClr>
                <a:schemeClr val="tx1"/>
              </a:buClr>
              <a:buSzPct val="90000"/>
              <a:buFont typeface="Arial" pitchFamily="34" charset="0"/>
              <a:buChar char="•"/>
              <a:defRPr sz="195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40321"/>
            <a:ext cx="12187239" cy="619268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3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40406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7802" y="1411879"/>
            <a:ext cx="11171636" cy="2185314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8017102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6810" y="6479373"/>
            <a:ext cx="8378726" cy="380215"/>
          </a:xfrm>
          <a:prstGeom prst="rect">
            <a:avLst/>
          </a:prstGeom>
        </p:spPr>
        <p:txBody>
          <a:bodyPr/>
          <a:lstStyle/>
          <a:p>
            <a:pPr defTabSz="913453"/>
            <a:endParaRPr lang="en-US" sz="1763" dirty="0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25536" y="6480087"/>
            <a:ext cx="761701" cy="379501"/>
          </a:xfrm>
          <a:prstGeom prst="rect">
            <a:avLst/>
          </a:prstGeom>
        </p:spPr>
        <p:txBody>
          <a:bodyPr/>
          <a:lstStyle/>
          <a:p>
            <a:pPr defTabSz="913453"/>
            <a:fld id="{6A4C1A4A-E5E6-4CC1-B72C-A20A4EB3E2D2}" type="slidenum">
              <a:rPr lang="en-US" sz="1763" smtClean="0">
                <a:solidFill>
                  <a:srgbClr val="505050"/>
                </a:solidFill>
              </a:rPr>
              <a:pPr defTabSz="913453"/>
              <a:t>‹#›</a:t>
            </a:fld>
            <a:endParaRPr lang="en-US" sz="1763" dirty="0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737"/>
            <a:ext cx="12187238" cy="37315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797">
                <a:latin typeface="Segoe UI Light" pitchFamily="34" charset="0"/>
              </a:defRPr>
            </a:lvl1pPr>
            <a:lvl2pPr marL="281337" indent="0">
              <a:buNone/>
              <a:defRPr/>
            </a:lvl2pPr>
            <a:lvl3pPr marL="587775" indent="0">
              <a:buNone/>
              <a:defRPr/>
            </a:lvl3pPr>
            <a:lvl4pPr marL="869113" indent="0">
              <a:buNone/>
              <a:defRPr/>
            </a:lvl4pPr>
            <a:lvl5pPr marL="1104222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129777461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46811" y="6479374"/>
            <a:ext cx="8378727" cy="380215"/>
          </a:xfrm>
          <a:prstGeom prst="rect">
            <a:avLst/>
          </a:prstGeom>
        </p:spPr>
        <p:txBody>
          <a:bodyPr/>
          <a:lstStyle/>
          <a:p>
            <a:pPr defTabSz="913453"/>
            <a:endParaRPr lang="en-US" sz="1763" dirty="0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25536" y="6480088"/>
            <a:ext cx="761701" cy="379501"/>
          </a:xfrm>
          <a:prstGeom prst="rect">
            <a:avLst/>
          </a:prstGeom>
        </p:spPr>
        <p:txBody>
          <a:bodyPr/>
          <a:lstStyle/>
          <a:p>
            <a:pPr defTabSz="913453"/>
            <a:fld id="{6A4C1A4A-E5E6-4CC1-B72C-A20A4EB3E2D2}" type="slidenum">
              <a:rPr lang="en-US" sz="1763" smtClean="0">
                <a:solidFill>
                  <a:srgbClr val="505050"/>
                </a:solidFill>
              </a:rPr>
              <a:pPr defTabSz="913453"/>
              <a:t>‹#›</a:t>
            </a:fld>
            <a:endParaRPr lang="en-US" sz="1763" dirty="0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738"/>
            <a:ext cx="12187238" cy="373150"/>
          </a:xfrm>
          <a:prstGeom prst="rect">
            <a:avLst/>
          </a:prstGeom>
        </p:spPr>
        <p:txBody>
          <a:bodyPr lIns="380893" tIns="53325" rIns="53325" bIns="53325">
            <a:noAutofit/>
          </a:bodyPr>
          <a:lstStyle>
            <a:lvl1pPr marL="0" indent="0">
              <a:buNone/>
              <a:defRPr sz="2797">
                <a:latin typeface="Segoe UI Light" pitchFamily="34" charset="0"/>
              </a:defRPr>
            </a:lvl1pPr>
            <a:lvl2pPr marL="281337" indent="0">
              <a:buNone/>
              <a:defRPr/>
            </a:lvl2pPr>
            <a:lvl3pPr marL="587775" indent="0">
              <a:buNone/>
              <a:defRPr/>
            </a:lvl3pPr>
            <a:lvl4pPr marL="869113" indent="0">
              <a:buNone/>
              <a:defRPr/>
            </a:lvl4pPr>
            <a:lvl5pPr marL="1104222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265924137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66025" y="291138"/>
            <a:ext cx="11641268" cy="853220"/>
          </a:xfrm>
        </p:spPr>
        <p:txBody>
          <a:bodyPr vert="horz" wrap="square" lIns="149226" tIns="93266" rIns="149226" bIns="93266" rtlCol="0" anchor="t" anchorCtr="0">
            <a:spAutoFit/>
          </a:bodyPr>
          <a:lstStyle>
            <a:lvl1pPr>
              <a:lnSpc>
                <a:spcPct val="80000"/>
              </a:lnSpc>
              <a:spcAft>
                <a:spcPts val="0"/>
              </a:spcAft>
              <a:defRPr lang="en-US" sz="4700" spc="-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itchFamily="34" charset="0"/>
                <a:ea typeface="+mj-ea"/>
                <a:cs typeface="+mj-cs"/>
              </a:defRPr>
            </a:lvl1pPr>
          </a:lstStyle>
          <a:p>
            <a:pPr lvl="0" defTabSz="1216548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195076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icrosoft log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87238" cy="68595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1" tIns="38039" rIns="76081" bIns="38039" rtlCol="0" anchor="ctr"/>
          <a:lstStyle/>
          <a:p>
            <a:pPr algn="ctr" defTabSz="913453">
              <a:defRPr/>
            </a:pPr>
            <a:endParaRPr lang="en-US" sz="1797" dirty="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87238" cy="68595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1" tIns="38039" rIns="76081" bIns="38039" rtlCol="0" anchor="ctr"/>
          <a:lstStyle/>
          <a:p>
            <a:pPr algn="ctr" defTabSz="913453">
              <a:defRPr/>
            </a:pPr>
            <a:endParaRPr lang="en-US" sz="1797" dirty="0">
              <a:solidFill>
                <a:srgbClr val="FFFFF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4707" y="128126"/>
            <a:ext cx="2879992" cy="1059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40048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XAMPLE ONLY: 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0"/>
            <a:ext cx="3726561" cy="2084654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 bwMode="gray">
          <a:xfrm>
            <a:off x="3" y="2084655"/>
            <a:ext cx="7431149" cy="358703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027" tIns="143222" rIns="179027" bIns="1432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2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97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685" y="2082950"/>
            <a:ext cx="7168536" cy="2138111"/>
          </a:xfrm>
          <a:noFill/>
        </p:spPr>
        <p:txBody>
          <a:bodyPr lIns="146304" tIns="91440" rIns="146304" bIns="91440" anchor="t" anchorCtr="0">
            <a:normAutofit/>
          </a:bodyPr>
          <a:lstStyle>
            <a:lvl1pPr>
              <a:defRPr sz="5393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-2957" y="4221064"/>
            <a:ext cx="7168536" cy="838493"/>
          </a:xfrm>
        </p:spPr>
        <p:txBody>
          <a:bodyPr lIns="146304" tIns="91440" rIns="146304" bIns="91440">
            <a:noAutofit/>
          </a:bodyPr>
          <a:lstStyle>
            <a:lvl1pPr marL="0" indent="0">
              <a:spcBef>
                <a:spcPts val="0"/>
              </a:spcBef>
              <a:buNone/>
              <a:defRPr sz="2797" baseline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618" y="4980602"/>
            <a:ext cx="1946343" cy="71620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26563" y="1"/>
            <a:ext cx="3711168" cy="208465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30427" y="5671693"/>
            <a:ext cx="3705045" cy="118789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" y="5671694"/>
            <a:ext cx="3730423" cy="118789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25227" y="2"/>
            <a:ext cx="4766440" cy="381719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35473" y="3817201"/>
            <a:ext cx="4740863" cy="3042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761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11108" y="6357822"/>
            <a:ext cx="8911063" cy="365210"/>
          </a:xfrm>
          <a:prstGeom prst="rect">
            <a:avLst/>
          </a:prstGeom>
        </p:spPr>
        <p:txBody>
          <a:bodyPr/>
          <a:lstStyle/>
          <a:p>
            <a:pPr defTabSz="913453"/>
            <a:r>
              <a:rPr lang="en-US" sz="1763" dirty="0">
                <a:solidFill>
                  <a:srgbClr val="505050"/>
                </a:solidFill>
              </a:rPr>
              <a:t>© 2012 Microsoft Corporation.  All Rights Reser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855412" y="6357822"/>
            <a:ext cx="1722307" cy="365210"/>
          </a:xfrm>
          <a:prstGeom prst="rect">
            <a:avLst/>
          </a:prstGeom>
        </p:spPr>
        <p:txBody>
          <a:bodyPr/>
          <a:lstStyle/>
          <a:p>
            <a:pPr defTabSz="913453"/>
            <a:fld id="{C3D6BEE0-1E9A-4453-8C9A-5A2AC37A7971}" type="slidenum">
              <a:rPr lang="en-US" sz="1763" smtClean="0">
                <a:solidFill>
                  <a:srgbClr val="505050"/>
                </a:solidFill>
              </a:rPr>
              <a:pPr defTabSz="913453"/>
              <a:t>‹#›</a:t>
            </a:fld>
            <a:endParaRPr lang="en-US" sz="1763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649036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34" y="2084655"/>
            <a:ext cx="11648971" cy="1796633"/>
          </a:xfrm>
          <a:noFill/>
        </p:spPr>
        <p:txBody>
          <a:bodyPr tIns="91440" bIns="91440" anchor="t" anchorCtr="0"/>
          <a:lstStyle>
            <a:lvl1pPr>
              <a:defRPr sz="862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338614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8" y="6480101"/>
            <a:ext cx="12187237" cy="379501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38041" rIns="76082" bIns="38041" rtlCol="0" anchor="ctr"/>
          <a:lstStyle/>
          <a:p>
            <a:pPr algn="ctr" defTabSz="1086795"/>
            <a:endParaRPr lang="en-US" sz="2197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192068"/>
            <a:ext cx="12187238" cy="64619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>
          <a:xfrm>
            <a:off x="3046810" y="6479386"/>
            <a:ext cx="8378726" cy="380215"/>
          </a:xfrm>
          <a:prstGeom prst="rect">
            <a:avLst/>
          </a:prstGeom>
        </p:spPr>
        <p:txBody>
          <a:bodyPr/>
          <a:lstStyle/>
          <a:p>
            <a:pPr defTabSz="914087"/>
            <a:endParaRPr lang="en-US" sz="1764" dirty="0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>
          <a:xfrm>
            <a:off x="11425543" y="6480101"/>
            <a:ext cx="761701" cy="379501"/>
          </a:xfrm>
          <a:prstGeom prst="rect">
            <a:avLst/>
          </a:prstGeom>
        </p:spPr>
        <p:txBody>
          <a:bodyPr/>
          <a:lstStyle/>
          <a:p>
            <a:pPr defTabSz="914087"/>
            <a:fld id="{6A4C1A4A-E5E6-4CC1-B72C-A20A4EB3E2D2}" type="slidenum">
              <a:rPr lang="en-US" sz="1764" smtClean="0">
                <a:solidFill>
                  <a:srgbClr val="505050"/>
                </a:solidFill>
              </a:rPr>
              <a:pPr defTabSz="914087"/>
              <a:t>‹#›</a:t>
            </a:fld>
            <a:endParaRPr lang="en-US" sz="1764" dirty="0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0" y="832298"/>
            <a:ext cx="12187238" cy="373149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797">
                <a:latin typeface="Segoe UI Light" pitchFamily="34" charset="0"/>
              </a:defRPr>
            </a:lvl1pPr>
            <a:lvl2pPr marL="281334" indent="0">
              <a:buNone/>
              <a:defRPr/>
            </a:lvl2pPr>
            <a:lvl3pPr marL="587768" indent="0">
              <a:buNone/>
              <a:defRPr/>
            </a:lvl3pPr>
            <a:lvl4pPr marL="869101" indent="0">
              <a:buNone/>
              <a:defRPr/>
            </a:lvl4pPr>
            <a:lvl5pPr marL="1104208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Footer Placeholder 2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" y="6480101"/>
            <a:ext cx="2285107" cy="379501"/>
          </a:xfrm>
          <a:prstGeom prst="rect">
            <a:avLst/>
          </a:prstGeom>
        </p:spPr>
        <p:txBody>
          <a:bodyPr lIns="380411" tIns="38041" rIns="76082" bIns="38041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76845333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IGHT BLU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31745" y="1371918"/>
            <a:ext cx="11368137" cy="1538876"/>
          </a:xfrm>
        </p:spPr>
        <p:txBody>
          <a:bodyPr/>
          <a:lstStyle>
            <a:lvl1pPr>
              <a:defRPr lang="en-US" sz="3199" kern="4000" spc="-100" baseline="0" dirty="0" smtClean="0">
                <a:gradFill flip="none" rotWithShape="1">
                  <a:gsLst>
                    <a:gs pos="0">
                      <a:schemeClr val="accent1"/>
                    </a:gs>
                    <a:gs pos="87000">
                      <a:schemeClr val="accent1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Segoe UI Light" pitchFamily="34" charset="0"/>
                <a:ea typeface="+mn-ea"/>
                <a:cs typeface="+mn-cs"/>
              </a:defRPr>
            </a:lvl1pPr>
            <a:lvl2pPr>
              <a:defRPr sz="1799"/>
            </a:lvl2pPr>
            <a:lvl3pPr>
              <a:defRPr sz="1399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504334" y="6544408"/>
            <a:ext cx="491166" cy="365210"/>
          </a:xfrm>
          <a:prstGeom prst="rect">
            <a:avLst/>
          </a:prstGeom>
        </p:spPr>
        <p:txBody>
          <a:bodyPr/>
          <a:lstStyle/>
          <a:p>
            <a:pPr defTabSz="914087"/>
            <a:fld id="{4CED8391-71CF-4FD3-A093-40D26DE2D47C}" type="slidenum">
              <a:rPr lang="en-US" sz="1764" smtClean="0">
                <a:solidFill>
                  <a:srgbClr val="505050"/>
                </a:solidFill>
              </a:rPr>
              <a:pPr defTabSz="914087"/>
              <a:t>‹#›</a:t>
            </a:fld>
            <a:endParaRPr lang="en-US" sz="1764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685199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8568" y="2110031"/>
            <a:ext cx="10236453" cy="997427"/>
          </a:xfrm>
        </p:spPr>
        <p:txBody>
          <a:bodyPr anchor="b" anchorCtr="0"/>
          <a:lstStyle>
            <a:lvl1pPr>
              <a:defRPr sz="7197" spc="-150" baseline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78568" y="3426621"/>
            <a:ext cx="10236453" cy="4987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pc="-71" baseline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Title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54034" y="4972186"/>
            <a:ext cx="3215535" cy="1183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5175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9047" y="2820259"/>
            <a:ext cx="11147561" cy="1219077"/>
          </a:xfrm>
        </p:spPr>
        <p:txBody>
          <a:bodyPr anchor="b" anchorCtr="0"/>
          <a:lstStyle>
            <a:lvl1pPr>
              <a:defRPr sz="8796" spc="-300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44020" y="5792542"/>
            <a:ext cx="2441142" cy="898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91682916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enario F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1456604"/>
            <a:ext cx="12187238" cy="3100734"/>
          </a:xfrm>
          <a:prstGeom prst="rect">
            <a:avLst/>
          </a:prstGeom>
          <a:solidFill>
            <a:srgbClr val="EAEAE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00" tIns="45700" rIns="91400" bIns="457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047" y="1026589"/>
            <a:ext cx="11147561" cy="50139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395"/>
              </a:spcBef>
              <a:buNone/>
              <a:defRPr sz="2799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1399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2pPr>
            <a:lvl3pPr marL="231341" indent="0">
              <a:buNone/>
              <a:defRPr sz="1399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3pPr>
            <a:lvl4pPr marL="456347" indent="0">
              <a:buNone/>
              <a:defRPr sz="1399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4pPr>
            <a:lvl5pPr marL="692444" indent="0">
              <a:buNone/>
              <a:defRPr sz="1399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76306" y="6609729"/>
            <a:ext cx="560613" cy="219507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599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4034"/>
            <a:fld id="{FA4A93B8-B23A-4F35-A6A2-2F1F9227CD90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4034"/>
              <a:t>‹#›</a:t>
            </a:fld>
            <a:endParaRPr lang="en-US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5641" y="63798"/>
            <a:ext cx="1422570" cy="523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tangle 10"/>
          <p:cNvSpPr/>
          <p:nvPr/>
        </p:nvSpPr>
        <p:spPr bwMode="auto">
          <a:xfrm>
            <a:off x="3556455" y="4657895"/>
            <a:ext cx="2744868" cy="436229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502724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Start</a:t>
            </a:r>
          </a:p>
        </p:txBody>
      </p:sp>
      <p:grpSp>
        <p:nvGrpSpPr>
          <p:cNvPr id="12" name="Group 11"/>
          <p:cNvGrpSpPr>
            <a:grpSpLocks noChangeAspect="1"/>
          </p:cNvGrpSpPr>
          <p:nvPr/>
        </p:nvGrpSpPr>
        <p:grpSpPr bwMode="black">
          <a:xfrm>
            <a:off x="3659840" y="4750316"/>
            <a:ext cx="274213" cy="276316"/>
            <a:chOff x="741363" y="4105804"/>
            <a:chExt cx="700088" cy="698500"/>
          </a:xfrm>
          <a:solidFill>
            <a:srgbClr val="FFFFFF"/>
          </a:solidFill>
        </p:grpSpPr>
        <p:sp>
          <p:nvSpPr>
            <p:cNvPr id="13" name="Freeform 34"/>
            <p:cNvSpPr>
              <a:spLocks noEditPoints="1"/>
            </p:cNvSpPr>
            <p:nvPr/>
          </p:nvSpPr>
          <p:spPr bwMode="black">
            <a:xfrm>
              <a:off x="741363" y="4105804"/>
              <a:ext cx="700088" cy="698500"/>
            </a:xfrm>
            <a:custGeom>
              <a:avLst/>
              <a:gdLst>
                <a:gd name="T0" fmla="*/ 333 w 394"/>
                <a:gd name="T1" fmla="*/ 0 h 393"/>
                <a:gd name="T2" fmla="*/ 61 w 394"/>
                <a:gd name="T3" fmla="*/ 0 h 393"/>
                <a:gd name="T4" fmla="*/ 0 w 394"/>
                <a:gd name="T5" fmla="*/ 60 h 393"/>
                <a:gd name="T6" fmla="*/ 0 w 394"/>
                <a:gd name="T7" fmla="*/ 333 h 393"/>
                <a:gd name="T8" fmla="*/ 61 w 394"/>
                <a:gd name="T9" fmla="*/ 393 h 393"/>
                <a:gd name="T10" fmla="*/ 333 w 394"/>
                <a:gd name="T11" fmla="*/ 393 h 393"/>
                <a:gd name="T12" fmla="*/ 394 w 394"/>
                <a:gd name="T13" fmla="*/ 333 h 393"/>
                <a:gd name="T14" fmla="*/ 394 w 394"/>
                <a:gd name="T15" fmla="*/ 60 h 393"/>
                <a:gd name="T16" fmla="*/ 333 w 394"/>
                <a:gd name="T17" fmla="*/ 0 h 393"/>
                <a:gd name="T18" fmla="*/ 376 w 394"/>
                <a:gd name="T19" fmla="*/ 333 h 393"/>
                <a:gd name="T20" fmla="*/ 333 w 394"/>
                <a:gd name="T21" fmla="*/ 376 h 393"/>
                <a:gd name="T22" fmla="*/ 61 w 394"/>
                <a:gd name="T23" fmla="*/ 376 h 393"/>
                <a:gd name="T24" fmla="*/ 18 w 394"/>
                <a:gd name="T25" fmla="*/ 333 h 393"/>
                <a:gd name="T26" fmla="*/ 18 w 394"/>
                <a:gd name="T27" fmla="*/ 60 h 393"/>
                <a:gd name="T28" fmla="*/ 61 w 394"/>
                <a:gd name="T29" fmla="*/ 17 h 393"/>
                <a:gd name="T30" fmla="*/ 333 w 394"/>
                <a:gd name="T31" fmla="*/ 17 h 393"/>
                <a:gd name="T32" fmla="*/ 376 w 394"/>
                <a:gd name="T33" fmla="*/ 60 h 393"/>
                <a:gd name="T34" fmla="*/ 376 w 394"/>
                <a:gd name="T35" fmla="*/ 33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4" h="393">
                  <a:moveTo>
                    <a:pt x="333" y="0"/>
                  </a:moveTo>
                  <a:cubicBezTo>
                    <a:pt x="61" y="0"/>
                    <a:pt x="61" y="0"/>
                    <a:pt x="61" y="0"/>
                  </a:cubicBezTo>
                  <a:cubicBezTo>
                    <a:pt x="28" y="0"/>
                    <a:pt x="0" y="27"/>
                    <a:pt x="0" y="60"/>
                  </a:cubicBezTo>
                  <a:cubicBezTo>
                    <a:pt x="0" y="333"/>
                    <a:pt x="0" y="333"/>
                    <a:pt x="0" y="333"/>
                  </a:cubicBezTo>
                  <a:cubicBezTo>
                    <a:pt x="0" y="366"/>
                    <a:pt x="28" y="393"/>
                    <a:pt x="61" y="393"/>
                  </a:cubicBezTo>
                  <a:cubicBezTo>
                    <a:pt x="333" y="393"/>
                    <a:pt x="333" y="393"/>
                    <a:pt x="333" y="393"/>
                  </a:cubicBezTo>
                  <a:cubicBezTo>
                    <a:pt x="366" y="393"/>
                    <a:pt x="394" y="366"/>
                    <a:pt x="394" y="333"/>
                  </a:cubicBezTo>
                  <a:cubicBezTo>
                    <a:pt x="394" y="60"/>
                    <a:pt x="394" y="60"/>
                    <a:pt x="394" y="60"/>
                  </a:cubicBezTo>
                  <a:cubicBezTo>
                    <a:pt x="394" y="27"/>
                    <a:pt x="366" y="0"/>
                    <a:pt x="333" y="0"/>
                  </a:cubicBezTo>
                  <a:close/>
                  <a:moveTo>
                    <a:pt x="376" y="333"/>
                  </a:moveTo>
                  <a:cubicBezTo>
                    <a:pt x="376" y="356"/>
                    <a:pt x="357" y="376"/>
                    <a:pt x="333" y="376"/>
                  </a:cubicBezTo>
                  <a:cubicBezTo>
                    <a:pt x="61" y="376"/>
                    <a:pt x="61" y="376"/>
                    <a:pt x="61" y="376"/>
                  </a:cubicBezTo>
                  <a:cubicBezTo>
                    <a:pt x="37" y="376"/>
                    <a:pt x="18" y="356"/>
                    <a:pt x="18" y="333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37"/>
                    <a:pt x="37" y="17"/>
                    <a:pt x="61" y="17"/>
                  </a:cubicBezTo>
                  <a:cubicBezTo>
                    <a:pt x="333" y="17"/>
                    <a:pt x="333" y="17"/>
                    <a:pt x="333" y="17"/>
                  </a:cubicBezTo>
                  <a:cubicBezTo>
                    <a:pt x="357" y="17"/>
                    <a:pt x="376" y="37"/>
                    <a:pt x="376" y="60"/>
                  </a:cubicBezTo>
                  <a:lnTo>
                    <a:pt x="376" y="3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Freeform 35"/>
            <p:cNvSpPr>
              <a:spLocks noChangeAspect="1" noEditPoints="1"/>
            </p:cNvSpPr>
            <p:nvPr/>
          </p:nvSpPr>
          <p:spPr bwMode="black">
            <a:xfrm>
              <a:off x="803276" y="4166128"/>
              <a:ext cx="576262" cy="576264"/>
            </a:xfrm>
            <a:custGeom>
              <a:avLst/>
              <a:gdLst>
                <a:gd name="T0" fmla="*/ 298 w 324"/>
                <a:gd name="T1" fmla="*/ 0 h 324"/>
                <a:gd name="T2" fmla="*/ 26 w 324"/>
                <a:gd name="T3" fmla="*/ 0 h 324"/>
                <a:gd name="T4" fmla="*/ 0 w 324"/>
                <a:gd name="T5" fmla="*/ 26 h 324"/>
                <a:gd name="T6" fmla="*/ 0 w 324"/>
                <a:gd name="T7" fmla="*/ 299 h 324"/>
                <a:gd name="T8" fmla="*/ 26 w 324"/>
                <a:gd name="T9" fmla="*/ 324 h 324"/>
                <a:gd name="T10" fmla="*/ 298 w 324"/>
                <a:gd name="T11" fmla="*/ 324 h 324"/>
                <a:gd name="T12" fmla="*/ 324 w 324"/>
                <a:gd name="T13" fmla="*/ 299 h 324"/>
                <a:gd name="T14" fmla="*/ 324 w 324"/>
                <a:gd name="T15" fmla="*/ 26 h 324"/>
                <a:gd name="T16" fmla="*/ 298 w 324"/>
                <a:gd name="T17" fmla="*/ 0 h 324"/>
                <a:gd name="T18" fmla="*/ 233 w 324"/>
                <a:gd name="T19" fmla="*/ 125 h 324"/>
                <a:gd name="T20" fmla="*/ 229 w 324"/>
                <a:gd name="T21" fmla="*/ 161 h 324"/>
                <a:gd name="T22" fmla="*/ 209 w 324"/>
                <a:gd name="T23" fmla="*/ 201 h 324"/>
                <a:gd name="T24" fmla="*/ 201 w 324"/>
                <a:gd name="T25" fmla="*/ 201 h 324"/>
                <a:gd name="T26" fmla="*/ 201 w 324"/>
                <a:gd name="T27" fmla="*/ 208 h 324"/>
                <a:gd name="T28" fmla="*/ 233 w 324"/>
                <a:gd name="T29" fmla="*/ 208 h 324"/>
                <a:gd name="T30" fmla="*/ 229 w 324"/>
                <a:gd name="T31" fmla="*/ 244 h 324"/>
                <a:gd name="T32" fmla="*/ 209 w 324"/>
                <a:gd name="T33" fmla="*/ 284 h 324"/>
                <a:gd name="T34" fmla="*/ 201 w 324"/>
                <a:gd name="T35" fmla="*/ 284 h 324"/>
                <a:gd name="T36" fmla="*/ 201 w 324"/>
                <a:gd name="T37" fmla="*/ 287 h 324"/>
                <a:gd name="T38" fmla="*/ 182 w 324"/>
                <a:gd name="T39" fmla="*/ 296 h 324"/>
                <a:gd name="T40" fmla="*/ 137 w 324"/>
                <a:gd name="T41" fmla="*/ 296 h 324"/>
                <a:gd name="T42" fmla="*/ 118 w 324"/>
                <a:gd name="T43" fmla="*/ 287 h 324"/>
                <a:gd name="T44" fmla="*/ 118 w 324"/>
                <a:gd name="T45" fmla="*/ 284 h 324"/>
                <a:gd name="T46" fmla="*/ 110 w 324"/>
                <a:gd name="T47" fmla="*/ 284 h 324"/>
                <a:gd name="T48" fmla="*/ 91 w 324"/>
                <a:gd name="T49" fmla="*/ 244 h 324"/>
                <a:gd name="T50" fmla="*/ 86 w 324"/>
                <a:gd name="T51" fmla="*/ 208 h 324"/>
                <a:gd name="T52" fmla="*/ 118 w 324"/>
                <a:gd name="T53" fmla="*/ 208 h 324"/>
                <a:gd name="T54" fmla="*/ 118 w 324"/>
                <a:gd name="T55" fmla="*/ 201 h 324"/>
                <a:gd name="T56" fmla="*/ 110 w 324"/>
                <a:gd name="T57" fmla="*/ 201 h 324"/>
                <a:gd name="T58" fmla="*/ 91 w 324"/>
                <a:gd name="T59" fmla="*/ 161 h 324"/>
                <a:gd name="T60" fmla="*/ 86 w 324"/>
                <a:gd name="T61" fmla="*/ 125 h 324"/>
                <a:gd name="T62" fmla="*/ 118 w 324"/>
                <a:gd name="T63" fmla="*/ 125 h 324"/>
                <a:gd name="T64" fmla="*/ 118 w 324"/>
                <a:gd name="T65" fmla="*/ 119 h 324"/>
                <a:gd name="T66" fmla="*/ 110 w 324"/>
                <a:gd name="T67" fmla="*/ 119 h 324"/>
                <a:gd name="T68" fmla="*/ 91 w 324"/>
                <a:gd name="T69" fmla="*/ 78 h 324"/>
                <a:gd name="T70" fmla="*/ 86 w 324"/>
                <a:gd name="T71" fmla="*/ 42 h 324"/>
                <a:gd name="T72" fmla="*/ 118 w 324"/>
                <a:gd name="T73" fmla="*/ 42 h 324"/>
                <a:gd name="T74" fmla="*/ 118 w 324"/>
                <a:gd name="T75" fmla="*/ 39 h 324"/>
                <a:gd name="T76" fmla="*/ 137 w 324"/>
                <a:gd name="T77" fmla="*/ 19 h 324"/>
                <a:gd name="T78" fmla="*/ 182 w 324"/>
                <a:gd name="T79" fmla="*/ 19 h 324"/>
                <a:gd name="T80" fmla="*/ 201 w 324"/>
                <a:gd name="T81" fmla="*/ 39 h 324"/>
                <a:gd name="T82" fmla="*/ 201 w 324"/>
                <a:gd name="T83" fmla="*/ 42 h 324"/>
                <a:gd name="T84" fmla="*/ 233 w 324"/>
                <a:gd name="T85" fmla="*/ 42 h 324"/>
                <a:gd name="T86" fmla="*/ 229 w 324"/>
                <a:gd name="T87" fmla="*/ 78 h 324"/>
                <a:gd name="T88" fmla="*/ 209 w 324"/>
                <a:gd name="T89" fmla="*/ 119 h 324"/>
                <a:gd name="T90" fmla="*/ 201 w 324"/>
                <a:gd name="T91" fmla="*/ 119 h 324"/>
                <a:gd name="T92" fmla="*/ 201 w 324"/>
                <a:gd name="T93" fmla="*/ 125 h 324"/>
                <a:gd name="T94" fmla="*/ 233 w 324"/>
                <a:gd name="T95" fmla="*/ 125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4" h="324">
                  <a:moveTo>
                    <a:pt x="298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0" y="313"/>
                    <a:pt x="12" y="324"/>
                    <a:pt x="26" y="324"/>
                  </a:cubicBezTo>
                  <a:cubicBezTo>
                    <a:pt x="298" y="324"/>
                    <a:pt x="298" y="324"/>
                    <a:pt x="298" y="324"/>
                  </a:cubicBezTo>
                  <a:cubicBezTo>
                    <a:pt x="312" y="324"/>
                    <a:pt x="324" y="313"/>
                    <a:pt x="324" y="299"/>
                  </a:cubicBezTo>
                  <a:cubicBezTo>
                    <a:pt x="324" y="26"/>
                    <a:pt x="324" y="26"/>
                    <a:pt x="324" y="26"/>
                  </a:cubicBezTo>
                  <a:cubicBezTo>
                    <a:pt x="324" y="12"/>
                    <a:pt x="312" y="0"/>
                    <a:pt x="298" y="0"/>
                  </a:cubicBezTo>
                  <a:close/>
                  <a:moveTo>
                    <a:pt x="233" y="125"/>
                  </a:moveTo>
                  <a:cubicBezTo>
                    <a:pt x="239" y="125"/>
                    <a:pt x="237" y="131"/>
                    <a:pt x="229" y="161"/>
                  </a:cubicBezTo>
                  <a:cubicBezTo>
                    <a:pt x="221" y="190"/>
                    <a:pt x="209" y="201"/>
                    <a:pt x="209" y="201"/>
                  </a:cubicBezTo>
                  <a:cubicBezTo>
                    <a:pt x="201" y="201"/>
                    <a:pt x="201" y="201"/>
                    <a:pt x="201" y="201"/>
                  </a:cubicBezTo>
                  <a:cubicBezTo>
                    <a:pt x="201" y="208"/>
                    <a:pt x="201" y="208"/>
                    <a:pt x="201" y="208"/>
                  </a:cubicBezTo>
                  <a:cubicBezTo>
                    <a:pt x="233" y="208"/>
                    <a:pt x="233" y="208"/>
                    <a:pt x="233" y="208"/>
                  </a:cubicBezTo>
                  <a:cubicBezTo>
                    <a:pt x="239" y="208"/>
                    <a:pt x="237" y="214"/>
                    <a:pt x="229" y="244"/>
                  </a:cubicBezTo>
                  <a:cubicBezTo>
                    <a:pt x="221" y="273"/>
                    <a:pt x="209" y="284"/>
                    <a:pt x="209" y="284"/>
                  </a:cubicBezTo>
                  <a:cubicBezTo>
                    <a:pt x="201" y="284"/>
                    <a:pt x="201" y="284"/>
                    <a:pt x="201" y="284"/>
                  </a:cubicBezTo>
                  <a:cubicBezTo>
                    <a:pt x="201" y="287"/>
                    <a:pt x="201" y="287"/>
                    <a:pt x="201" y="287"/>
                  </a:cubicBezTo>
                  <a:cubicBezTo>
                    <a:pt x="182" y="296"/>
                    <a:pt x="182" y="296"/>
                    <a:pt x="182" y="296"/>
                  </a:cubicBezTo>
                  <a:cubicBezTo>
                    <a:pt x="137" y="296"/>
                    <a:pt x="137" y="296"/>
                    <a:pt x="137" y="296"/>
                  </a:cubicBezTo>
                  <a:cubicBezTo>
                    <a:pt x="118" y="287"/>
                    <a:pt x="118" y="287"/>
                    <a:pt x="118" y="287"/>
                  </a:cubicBezTo>
                  <a:cubicBezTo>
                    <a:pt x="118" y="284"/>
                    <a:pt x="118" y="284"/>
                    <a:pt x="118" y="284"/>
                  </a:cubicBezTo>
                  <a:cubicBezTo>
                    <a:pt x="110" y="284"/>
                    <a:pt x="110" y="284"/>
                    <a:pt x="110" y="284"/>
                  </a:cubicBezTo>
                  <a:cubicBezTo>
                    <a:pt x="110" y="284"/>
                    <a:pt x="99" y="273"/>
                    <a:pt x="91" y="244"/>
                  </a:cubicBezTo>
                  <a:cubicBezTo>
                    <a:pt x="83" y="214"/>
                    <a:pt x="80" y="208"/>
                    <a:pt x="86" y="208"/>
                  </a:cubicBezTo>
                  <a:cubicBezTo>
                    <a:pt x="118" y="208"/>
                    <a:pt x="118" y="208"/>
                    <a:pt x="118" y="208"/>
                  </a:cubicBezTo>
                  <a:cubicBezTo>
                    <a:pt x="118" y="201"/>
                    <a:pt x="118" y="201"/>
                    <a:pt x="118" y="201"/>
                  </a:cubicBezTo>
                  <a:cubicBezTo>
                    <a:pt x="110" y="201"/>
                    <a:pt x="110" y="201"/>
                    <a:pt x="110" y="201"/>
                  </a:cubicBezTo>
                  <a:cubicBezTo>
                    <a:pt x="110" y="201"/>
                    <a:pt x="99" y="190"/>
                    <a:pt x="91" y="161"/>
                  </a:cubicBezTo>
                  <a:cubicBezTo>
                    <a:pt x="83" y="131"/>
                    <a:pt x="80" y="125"/>
                    <a:pt x="86" y="125"/>
                  </a:cubicBezTo>
                  <a:cubicBezTo>
                    <a:pt x="118" y="125"/>
                    <a:pt x="118" y="125"/>
                    <a:pt x="118" y="125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110" y="119"/>
                    <a:pt x="110" y="119"/>
                    <a:pt x="110" y="119"/>
                  </a:cubicBezTo>
                  <a:cubicBezTo>
                    <a:pt x="110" y="119"/>
                    <a:pt x="99" y="108"/>
                    <a:pt x="91" y="78"/>
                  </a:cubicBezTo>
                  <a:cubicBezTo>
                    <a:pt x="83" y="49"/>
                    <a:pt x="80" y="42"/>
                    <a:pt x="86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37" y="19"/>
                    <a:pt x="137" y="19"/>
                    <a:pt x="137" y="19"/>
                  </a:cubicBezTo>
                  <a:cubicBezTo>
                    <a:pt x="182" y="19"/>
                    <a:pt x="182" y="19"/>
                    <a:pt x="182" y="19"/>
                  </a:cubicBezTo>
                  <a:cubicBezTo>
                    <a:pt x="201" y="39"/>
                    <a:pt x="201" y="39"/>
                    <a:pt x="201" y="39"/>
                  </a:cubicBezTo>
                  <a:cubicBezTo>
                    <a:pt x="201" y="42"/>
                    <a:pt x="201" y="42"/>
                    <a:pt x="201" y="42"/>
                  </a:cubicBezTo>
                  <a:cubicBezTo>
                    <a:pt x="233" y="42"/>
                    <a:pt x="233" y="42"/>
                    <a:pt x="233" y="42"/>
                  </a:cubicBezTo>
                  <a:cubicBezTo>
                    <a:pt x="239" y="42"/>
                    <a:pt x="237" y="49"/>
                    <a:pt x="229" y="78"/>
                  </a:cubicBezTo>
                  <a:cubicBezTo>
                    <a:pt x="221" y="108"/>
                    <a:pt x="209" y="119"/>
                    <a:pt x="209" y="119"/>
                  </a:cubicBezTo>
                  <a:cubicBezTo>
                    <a:pt x="201" y="119"/>
                    <a:pt x="201" y="119"/>
                    <a:pt x="201" y="119"/>
                  </a:cubicBezTo>
                  <a:cubicBezTo>
                    <a:pt x="201" y="125"/>
                    <a:pt x="201" y="125"/>
                    <a:pt x="201" y="125"/>
                  </a:cubicBezTo>
                  <a:lnTo>
                    <a:pt x="233" y="12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Oval 36"/>
            <p:cNvSpPr>
              <a:spLocks noChangeArrowheads="1"/>
            </p:cNvSpPr>
            <p:nvPr/>
          </p:nvSpPr>
          <p:spPr bwMode="black">
            <a:xfrm>
              <a:off x="1027113" y="4251854"/>
              <a:ext cx="119063" cy="117475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Oval 37"/>
            <p:cNvSpPr>
              <a:spLocks noChangeArrowheads="1"/>
            </p:cNvSpPr>
            <p:nvPr/>
          </p:nvSpPr>
          <p:spPr bwMode="black">
            <a:xfrm>
              <a:off x="1027113" y="4399491"/>
              <a:ext cx="119063" cy="11906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Oval 38"/>
            <p:cNvSpPr>
              <a:spLocks noChangeArrowheads="1"/>
            </p:cNvSpPr>
            <p:nvPr/>
          </p:nvSpPr>
          <p:spPr bwMode="black">
            <a:xfrm>
              <a:off x="1027113" y="4545541"/>
              <a:ext cx="119063" cy="11906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9" name="Rectangle 18"/>
          <p:cNvSpPr/>
          <p:nvPr/>
        </p:nvSpPr>
        <p:spPr bwMode="auto">
          <a:xfrm>
            <a:off x="6385909" y="4657895"/>
            <a:ext cx="2744868" cy="436229"/>
          </a:xfrm>
          <a:prstGeom prst="rect">
            <a:avLst/>
          </a:prstGeom>
          <a:solidFill>
            <a:srgbClr val="FF7A4B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502724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Stop</a:t>
            </a:r>
          </a:p>
        </p:txBody>
      </p:sp>
      <p:sp>
        <p:nvSpPr>
          <p:cNvPr id="27" name="Rectangle 26"/>
          <p:cNvSpPr/>
          <p:nvPr/>
        </p:nvSpPr>
        <p:spPr bwMode="auto">
          <a:xfrm>
            <a:off x="9215362" y="4657895"/>
            <a:ext cx="2744868" cy="436229"/>
          </a:xfrm>
          <a:prstGeom prst="rect">
            <a:avLst/>
          </a:prstGeom>
          <a:solidFill>
            <a:srgbClr val="8CB1D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502724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Continue</a:t>
            </a:r>
          </a:p>
        </p:txBody>
      </p:sp>
      <p:sp>
        <p:nvSpPr>
          <p:cNvPr id="48" name="Content Placeholder 47"/>
          <p:cNvSpPr>
            <a:spLocks noGrp="1"/>
          </p:cNvSpPr>
          <p:nvPr userDrawn="1">
            <p:ph sz="quarter" idx="20" hasCustomPrompt="1"/>
          </p:nvPr>
        </p:nvSpPr>
        <p:spPr>
          <a:xfrm>
            <a:off x="326078" y="4657895"/>
            <a:ext cx="3016341" cy="428489"/>
          </a:xfrm>
        </p:spPr>
        <p:txBody>
          <a:bodyPr anchor="ctr"/>
          <a:lstStyle>
            <a:lvl1pPr marL="0" indent="0">
              <a:buFontTx/>
              <a:buNone/>
              <a:defRPr lang="en-US" sz="2399" kern="1200" spc="-71" baseline="0" dirty="0" smtClean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lang="en-US" sz="1399" kern="1200" spc="-71" baseline="0" dirty="0" smtClean="0">
                <a:solidFill>
                  <a:schemeClr val="accent6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14254" indent="0">
              <a:buFontTx/>
              <a:buNone/>
              <a:defRPr sz="1399"/>
            </a:lvl3pPr>
            <a:lvl4pPr marL="177729" indent="0">
              <a:buFontTx/>
              <a:buNone/>
              <a:defRPr sz="1200"/>
            </a:lvl4pPr>
            <a:lvl5pPr marL="177729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Behavioral Changes</a:t>
            </a:r>
          </a:p>
        </p:txBody>
      </p:sp>
      <p:sp>
        <p:nvSpPr>
          <p:cNvPr id="49" name="Content Placeholder 47"/>
          <p:cNvSpPr>
            <a:spLocks noGrp="1"/>
          </p:cNvSpPr>
          <p:nvPr userDrawn="1">
            <p:ph sz="quarter" idx="21" hasCustomPrompt="1"/>
          </p:nvPr>
        </p:nvSpPr>
        <p:spPr>
          <a:xfrm>
            <a:off x="3559195" y="5108597"/>
            <a:ext cx="2742129" cy="1742851"/>
          </a:xfrm>
        </p:spPr>
        <p:txBody>
          <a:bodyPr tIns="45720" rIns="45720"/>
          <a:lstStyle>
            <a:lvl1pPr marL="171381" indent="-171381">
              <a:lnSpc>
                <a:spcPct val="100000"/>
              </a:lnSpc>
              <a:spcBef>
                <a:spcPts val="0"/>
              </a:spcBef>
              <a:buClr>
                <a:srgbClr val="00B050"/>
              </a:buClr>
              <a:buFont typeface="Wingdings" panose="05000000000000000000" pitchFamily="2" charset="2"/>
              <a:buChar char="ü"/>
              <a:defRPr lang="en-US" sz="1100" kern="1200" spc="-71" baseline="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1100" kern="1200" spc="-71" baseline="0" dirty="0" smtClean="0">
                <a:solidFill>
                  <a:schemeClr val="accent6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14254" indent="0">
              <a:buFontTx/>
              <a:buNone/>
              <a:defRPr sz="1100">
                <a:latin typeface="+mj-lt"/>
              </a:defRPr>
            </a:lvl3pPr>
            <a:lvl4pPr marL="177729" indent="0">
              <a:buFontTx/>
              <a:buNone/>
              <a:defRPr sz="1100">
                <a:latin typeface="+mj-lt"/>
              </a:defRPr>
            </a:lvl4pPr>
            <a:lvl5pPr marL="177729" indent="0">
              <a:buFontTx/>
              <a:buNone/>
              <a:defRPr sz="1100">
                <a:latin typeface="+mj-lt"/>
              </a:defRPr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4" name="Content Placeholder 47"/>
          <p:cNvSpPr>
            <a:spLocks noGrp="1"/>
          </p:cNvSpPr>
          <p:nvPr userDrawn="1">
            <p:ph sz="quarter" idx="22" hasCustomPrompt="1"/>
          </p:nvPr>
        </p:nvSpPr>
        <p:spPr>
          <a:xfrm>
            <a:off x="6388647" y="5108597"/>
            <a:ext cx="2742129" cy="1742851"/>
          </a:xfrm>
        </p:spPr>
        <p:txBody>
          <a:bodyPr tIns="45720" rIns="45720"/>
          <a:lstStyle>
            <a:lvl1pPr marL="171381" indent="-17138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70000"/>
              <a:buFont typeface="Wingdings" panose="05000000000000000000" pitchFamily="2" charset="2"/>
              <a:buChar char="q"/>
              <a:defRPr lang="en-US" sz="1100" kern="1200" spc="-71" baseline="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1100" kern="1200" spc="-71" baseline="0" dirty="0" smtClean="0">
                <a:solidFill>
                  <a:schemeClr val="accent6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14254" indent="0">
              <a:buFontTx/>
              <a:buNone/>
              <a:defRPr sz="1100"/>
            </a:lvl3pPr>
            <a:lvl4pPr marL="177729" indent="0">
              <a:buFontTx/>
              <a:buNone/>
              <a:defRPr sz="1100"/>
            </a:lvl4pPr>
            <a:lvl5pPr marL="177729" indent="0">
              <a:buFontTx/>
              <a:buNone/>
              <a:defRPr sz="11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5" name="Content Placeholder 47"/>
          <p:cNvSpPr>
            <a:spLocks noGrp="1"/>
          </p:cNvSpPr>
          <p:nvPr userDrawn="1">
            <p:ph sz="quarter" idx="23" hasCustomPrompt="1"/>
          </p:nvPr>
        </p:nvSpPr>
        <p:spPr>
          <a:xfrm>
            <a:off x="9218101" y="5108597"/>
            <a:ext cx="2742129" cy="1742851"/>
          </a:xfrm>
        </p:spPr>
        <p:txBody>
          <a:bodyPr tIns="45720" rIns="45720"/>
          <a:lstStyle>
            <a:lvl1pPr marL="171381" marR="0" indent="-171381" algn="l" defTabSz="9126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Font typeface="Wingdings" panose="05000000000000000000" pitchFamily="2" charset="2"/>
              <a:buChar char="ü"/>
              <a:defRPr lang="en-US" sz="1100" kern="1200" spc="-71" baseline="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2657" rtl="0" eaLnBrk="1" fontAlgn="auto" latinLnBrk="0" hangingPunct="1">
              <a:spcAft>
                <a:spcPts val="0"/>
              </a:spcAft>
              <a:buFontTx/>
              <a:buNone/>
              <a:defRPr lang="en-US" sz="1100" kern="1200" spc="-71" baseline="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14254" marR="0" indent="0" algn="l" defTabSz="912657" rtl="0" eaLnBrk="1" fontAlgn="auto" latinLnBrk="0" hangingPunct="1">
              <a:spcAft>
                <a:spcPts val="0"/>
              </a:spcAft>
              <a:buFontTx/>
              <a:buNone/>
              <a:defRPr lang="en-US" sz="1100" kern="1200" spc="-71" baseline="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177729" marR="0" indent="0" algn="l" defTabSz="912657" rtl="0" eaLnBrk="1" fontAlgn="auto" latinLnBrk="0" hangingPunct="1">
              <a:spcAft>
                <a:spcPts val="0"/>
              </a:spcAft>
              <a:buFontTx/>
              <a:buNone/>
              <a:defRPr lang="en-US" sz="1100" kern="1200" spc="-71" baseline="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177729" marR="0" indent="0" algn="l" defTabSz="912657" rtl="0" eaLnBrk="1" fontAlgn="auto" latinLnBrk="0" hangingPunct="1">
              <a:spcAft>
                <a:spcPts val="0"/>
              </a:spcAft>
              <a:buFontTx/>
              <a:buNone/>
              <a:defRPr lang="en-US" sz="1100" kern="1200" spc="-71" baseline="0" dirty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Content Placeholder 47"/>
          <p:cNvSpPr>
            <a:spLocks noGrp="1"/>
          </p:cNvSpPr>
          <p:nvPr userDrawn="1">
            <p:ph sz="quarter" idx="24" hasCustomPrompt="1"/>
          </p:nvPr>
        </p:nvSpPr>
        <p:spPr>
          <a:xfrm>
            <a:off x="326078" y="5086385"/>
            <a:ext cx="3016341" cy="1742851"/>
          </a:xfrm>
        </p:spPr>
        <p:txBody>
          <a:bodyPr tIns="45720" rIns="4572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1200" kern="1200" spc="-71" baseline="0" dirty="0" smtClean="0">
                <a:solidFill>
                  <a:schemeClr val="accent6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1200" kern="1200" spc="-71" baseline="0" dirty="0" smtClean="0">
                <a:solidFill>
                  <a:schemeClr val="accent6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54" indent="0">
              <a:buFontTx/>
              <a:buNone/>
              <a:defRPr sz="1200" baseline="0">
                <a:solidFill>
                  <a:schemeClr val="accent6">
                    <a:lumMod val="50000"/>
                  </a:schemeClr>
                </a:solidFill>
                <a:latin typeface="+mn-lt"/>
              </a:defRPr>
            </a:lvl3pPr>
            <a:lvl4pPr marL="177729" indent="0">
              <a:buFontTx/>
              <a:buNone/>
              <a:defRPr sz="1200" baseline="0">
                <a:solidFill>
                  <a:schemeClr val="accent6">
                    <a:lumMod val="50000"/>
                  </a:schemeClr>
                </a:solidFill>
                <a:latin typeface="+mn-lt"/>
              </a:defRPr>
            </a:lvl4pPr>
            <a:lvl5pPr marL="177729" indent="0">
              <a:buFontTx/>
              <a:buNone/>
              <a:defRPr sz="1200" baseline="0">
                <a:solidFill>
                  <a:schemeClr val="accent6">
                    <a:lumMod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7" name="Group 56"/>
          <p:cNvGrpSpPr>
            <a:grpSpLocks noChangeAspect="1"/>
          </p:cNvGrpSpPr>
          <p:nvPr userDrawn="1"/>
        </p:nvGrpSpPr>
        <p:grpSpPr bwMode="black">
          <a:xfrm>
            <a:off x="6487159" y="4750316"/>
            <a:ext cx="274213" cy="276316"/>
            <a:chOff x="741363" y="4105804"/>
            <a:chExt cx="700088" cy="698500"/>
          </a:xfrm>
          <a:solidFill>
            <a:srgbClr val="FFFFFF"/>
          </a:solidFill>
        </p:grpSpPr>
        <p:sp>
          <p:nvSpPr>
            <p:cNvPr id="58" name="Freeform 34"/>
            <p:cNvSpPr>
              <a:spLocks noEditPoints="1"/>
            </p:cNvSpPr>
            <p:nvPr/>
          </p:nvSpPr>
          <p:spPr bwMode="black">
            <a:xfrm>
              <a:off x="741363" y="4105804"/>
              <a:ext cx="700088" cy="698500"/>
            </a:xfrm>
            <a:custGeom>
              <a:avLst/>
              <a:gdLst>
                <a:gd name="T0" fmla="*/ 333 w 394"/>
                <a:gd name="T1" fmla="*/ 0 h 393"/>
                <a:gd name="T2" fmla="*/ 61 w 394"/>
                <a:gd name="T3" fmla="*/ 0 h 393"/>
                <a:gd name="T4" fmla="*/ 0 w 394"/>
                <a:gd name="T5" fmla="*/ 60 h 393"/>
                <a:gd name="T6" fmla="*/ 0 w 394"/>
                <a:gd name="T7" fmla="*/ 333 h 393"/>
                <a:gd name="T8" fmla="*/ 61 w 394"/>
                <a:gd name="T9" fmla="*/ 393 h 393"/>
                <a:gd name="T10" fmla="*/ 333 w 394"/>
                <a:gd name="T11" fmla="*/ 393 h 393"/>
                <a:gd name="T12" fmla="*/ 394 w 394"/>
                <a:gd name="T13" fmla="*/ 333 h 393"/>
                <a:gd name="T14" fmla="*/ 394 w 394"/>
                <a:gd name="T15" fmla="*/ 60 h 393"/>
                <a:gd name="T16" fmla="*/ 333 w 394"/>
                <a:gd name="T17" fmla="*/ 0 h 393"/>
                <a:gd name="T18" fmla="*/ 376 w 394"/>
                <a:gd name="T19" fmla="*/ 333 h 393"/>
                <a:gd name="T20" fmla="*/ 333 w 394"/>
                <a:gd name="T21" fmla="*/ 376 h 393"/>
                <a:gd name="T22" fmla="*/ 61 w 394"/>
                <a:gd name="T23" fmla="*/ 376 h 393"/>
                <a:gd name="T24" fmla="*/ 18 w 394"/>
                <a:gd name="T25" fmla="*/ 333 h 393"/>
                <a:gd name="T26" fmla="*/ 18 w 394"/>
                <a:gd name="T27" fmla="*/ 60 h 393"/>
                <a:gd name="T28" fmla="*/ 61 w 394"/>
                <a:gd name="T29" fmla="*/ 17 h 393"/>
                <a:gd name="T30" fmla="*/ 333 w 394"/>
                <a:gd name="T31" fmla="*/ 17 h 393"/>
                <a:gd name="T32" fmla="*/ 376 w 394"/>
                <a:gd name="T33" fmla="*/ 60 h 393"/>
                <a:gd name="T34" fmla="*/ 376 w 394"/>
                <a:gd name="T35" fmla="*/ 33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4" h="393">
                  <a:moveTo>
                    <a:pt x="333" y="0"/>
                  </a:moveTo>
                  <a:cubicBezTo>
                    <a:pt x="61" y="0"/>
                    <a:pt x="61" y="0"/>
                    <a:pt x="61" y="0"/>
                  </a:cubicBezTo>
                  <a:cubicBezTo>
                    <a:pt x="28" y="0"/>
                    <a:pt x="0" y="27"/>
                    <a:pt x="0" y="60"/>
                  </a:cubicBezTo>
                  <a:cubicBezTo>
                    <a:pt x="0" y="333"/>
                    <a:pt x="0" y="333"/>
                    <a:pt x="0" y="333"/>
                  </a:cubicBezTo>
                  <a:cubicBezTo>
                    <a:pt x="0" y="366"/>
                    <a:pt x="28" y="393"/>
                    <a:pt x="61" y="393"/>
                  </a:cubicBezTo>
                  <a:cubicBezTo>
                    <a:pt x="333" y="393"/>
                    <a:pt x="333" y="393"/>
                    <a:pt x="333" y="393"/>
                  </a:cubicBezTo>
                  <a:cubicBezTo>
                    <a:pt x="366" y="393"/>
                    <a:pt x="394" y="366"/>
                    <a:pt x="394" y="333"/>
                  </a:cubicBezTo>
                  <a:cubicBezTo>
                    <a:pt x="394" y="60"/>
                    <a:pt x="394" y="60"/>
                    <a:pt x="394" y="60"/>
                  </a:cubicBezTo>
                  <a:cubicBezTo>
                    <a:pt x="394" y="27"/>
                    <a:pt x="366" y="0"/>
                    <a:pt x="333" y="0"/>
                  </a:cubicBezTo>
                  <a:close/>
                  <a:moveTo>
                    <a:pt x="376" y="333"/>
                  </a:moveTo>
                  <a:cubicBezTo>
                    <a:pt x="376" y="356"/>
                    <a:pt x="357" y="376"/>
                    <a:pt x="333" y="376"/>
                  </a:cubicBezTo>
                  <a:cubicBezTo>
                    <a:pt x="61" y="376"/>
                    <a:pt x="61" y="376"/>
                    <a:pt x="61" y="376"/>
                  </a:cubicBezTo>
                  <a:cubicBezTo>
                    <a:pt x="37" y="376"/>
                    <a:pt x="18" y="356"/>
                    <a:pt x="18" y="333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37"/>
                    <a:pt x="37" y="17"/>
                    <a:pt x="61" y="17"/>
                  </a:cubicBezTo>
                  <a:cubicBezTo>
                    <a:pt x="333" y="17"/>
                    <a:pt x="333" y="17"/>
                    <a:pt x="333" y="17"/>
                  </a:cubicBezTo>
                  <a:cubicBezTo>
                    <a:pt x="357" y="17"/>
                    <a:pt x="376" y="37"/>
                    <a:pt x="376" y="60"/>
                  </a:cubicBezTo>
                  <a:lnTo>
                    <a:pt x="376" y="3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35"/>
            <p:cNvSpPr>
              <a:spLocks noChangeAspect="1" noEditPoints="1"/>
            </p:cNvSpPr>
            <p:nvPr/>
          </p:nvSpPr>
          <p:spPr bwMode="black">
            <a:xfrm>
              <a:off x="803276" y="4166128"/>
              <a:ext cx="576262" cy="576264"/>
            </a:xfrm>
            <a:custGeom>
              <a:avLst/>
              <a:gdLst>
                <a:gd name="T0" fmla="*/ 298 w 324"/>
                <a:gd name="T1" fmla="*/ 0 h 324"/>
                <a:gd name="T2" fmla="*/ 26 w 324"/>
                <a:gd name="T3" fmla="*/ 0 h 324"/>
                <a:gd name="T4" fmla="*/ 0 w 324"/>
                <a:gd name="T5" fmla="*/ 26 h 324"/>
                <a:gd name="T6" fmla="*/ 0 w 324"/>
                <a:gd name="T7" fmla="*/ 299 h 324"/>
                <a:gd name="T8" fmla="*/ 26 w 324"/>
                <a:gd name="T9" fmla="*/ 324 h 324"/>
                <a:gd name="T10" fmla="*/ 298 w 324"/>
                <a:gd name="T11" fmla="*/ 324 h 324"/>
                <a:gd name="T12" fmla="*/ 324 w 324"/>
                <a:gd name="T13" fmla="*/ 299 h 324"/>
                <a:gd name="T14" fmla="*/ 324 w 324"/>
                <a:gd name="T15" fmla="*/ 26 h 324"/>
                <a:gd name="T16" fmla="*/ 298 w 324"/>
                <a:gd name="T17" fmla="*/ 0 h 324"/>
                <a:gd name="T18" fmla="*/ 233 w 324"/>
                <a:gd name="T19" fmla="*/ 125 h 324"/>
                <a:gd name="T20" fmla="*/ 229 w 324"/>
                <a:gd name="T21" fmla="*/ 161 h 324"/>
                <a:gd name="T22" fmla="*/ 209 w 324"/>
                <a:gd name="T23" fmla="*/ 201 h 324"/>
                <a:gd name="T24" fmla="*/ 201 w 324"/>
                <a:gd name="T25" fmla="*/ 201 h 324"/>
                <a:gd name="T26" fmla="*/ 201 w 324"/>
                <a:gd name="T27" fmla="*/ 208 h 324"/>
                <a:gd name="T28" fmla="*/ 233 w 324"/>
                <a:gd name="T29" fmla="*/ 208 h 324"/>
                <a:gd name="T30" fmla="*/ 229 w 324"/>
                <a:gd name="T31" fmla="*/ 244 h 324"/>
                <a:gd name="T32" fmla="*/ 209 w 324"/>
                <a:gd name="T33" fmla="*/ 284 h 324"/>
                <a:gd name="T34" fmla="*/ 201 w 324"/>
                <a:gd name="T35" fmla="*/ 284 h 324"/>
                <a:gd name="T36" fmla="*/ 201 w 324"/>
                <a:gd name="T37" fmla="*/ 287 h 324"/>
                <a:gd name="T38" fmla="*/ 182 w 324"/>
                <a:gd name="T39" fmla="*/ 296 h 324"/>
                <a:gd name="T40" fmla="*/ 137 w 324"/>
                <a:gd name="T41" fmla="*/ 296 h 324"/>
                <a:gd name="T42" fmla="*/ 118 w 324"/>
                <a:gd name="T43" fmla="*/ 287 h 324"/>
                <a:gd name="T44" fmla="*/ 118 w 324"/>
                <a:gd name="T45" fmla="*/ 284 h 324"/>
                <a:gd name="T46" fmla="*/ 110 w 324"/>
                <a:gd name="T47" fmla="*/ 284 h 324"/>
                <a:gd name="T48" fmla="*/ 91 w 324"/>
                <a:gd name="T49" fmla="*/ 244 h 324"/>
                <a:gd name="T50" fmla="*/ 86 w 324"/>
                <a:gd name="T51" fmla="*/ 208 h 324"/>
                <a:gd name="T52" fmla="*/ 118 w 324"/>
                <a:gd name="T53" fmla="*/ 208 h 324"/>
                <a:gd name="T54" fmla="*/ 118 w 324"/>
                <a:gd name="T55" fmla="*/ 201 h 324"/>
                <a:gd name="T56" fmla="*/ 110 w 324"/>
                <a:gd name="T57" fmla="*/ 201 h 324"/>
                <a:gd name="T58" fmla="*/ 91 w 324"/>
                <a:gd name="T59" fmla="*/ 161 h 324"/>
                <a:gd name="T60" fmla="*/ 86 w 324"/>
                <a:gd name="T61" fmla="*/ 125 h 324"/>
                <a:gd name="T62" fmla="*/ 118 w 324"/>
                <a:gd name="T63" fmla="*/ 125 h 324"/>
                <a:gd name="T64" fmla="*/ 118 w 324"/>
                <a:gd name="T65" fmla="*/ 119 h 324"/>
                <a:gd name="T66" fmla="*/ 110 w 324"/>
                <a:gd name="T67" fmla="*/ 119 h 324"/>
                <a:gd name="T68" fmla="*/ 91 w 324"/>
                <a:gd name="T69" fmla="*/ 78 h 324"/>
                <a:gd name="T70" fmla="*/ 86 w 324"/>
                <a:gd name="T71" fmla="*/ 42 h 324"/>
                <a:gd name="T72" fmla="*/ 118 w 324"/>
                <a:gd name="T73" fmla="*/ 42 h 324"/>
                <a:gd name="T74" fmla="*/ 118 w 324"/>
                <a:gd name="T75" fmla="*/ 39 h 324"/>
                <a:gd name="T76" fmla="*/ 137 w 324"/>
                <a:gd name="T77" fmla="*/ 19 h 324"/>
                <a:gd name="T78" fmla="*/ 182 w 324"/>
                <a:gd name="T79" fmla="*/ 19 h 324"/>
                <a:gd name="T80" fmla="*/ 201 w 324"/>
                <a:gd name="T81" fmla="*/ 39 h 324"/>
                <a:gd name="T82" fmla="*/ 201 w 324"/>
                <a:gd name="T83" fmla="*/ 42 h 324"/>
                <a:gd name="T84" fmla="*/ 233 w 324"/>
                <a:gd name="T85" fmla="*/ 42 h 324"/>
                <a:gd name="T86" fmla="*/ 229 w 324"/>
                <a:gd name="T87" fmla="*/ 78 h 324"/>
                <a:gd name="T88" fmla="*/ 209 w 324"/>
                <a:gd name="T89" fmla="*/ 119 h 324"/>
                <a:gd name="T90" fmla="*/ 201 w 324"/>
                <a:gd name="T91" fmla="*/ 119 h 324"/>
                <a:gd name="T92" fmla="*/ 201 w 324"/>
                <a:gd name="T93" fmla="*/ 125 h 324"/>
                <a:gd name="T94" fmla="*/ 233 w 324"/>
                <a:gd name="T95" fmla="*/ 125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4" h="324">
                  <a:moveTo>
                    <a:pt x="298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0" y="313"/>
                    <a:pt x="12" y="324"/>
                    <a:pt x="26" y="324"/>
                  </a:cubicBezTo>
                  <a:cubicBezTo>
                    <a:pt x="298" y="324"/>
                    <a:pt x="298" y="324"/>
                    <a:pt x="298" y="324"/>
                  </a:cubicBezTo>
                  <a:cubicBezTo>
                    <a:pt x="312" y="324"/>
                    <a:pt x="324" y="313"/>
                    <a:pt x="324" y="299"/>
                  </a:cubicBezTo>
                  <a:cubicBezTo>
                    <a:pt x="324" y="26"/>
                    <a:pt x="324" y="26"/>
                    <a:pt x="324" y="26"/>
                  </a:cubicBezTo>
                  <a:cubicBezTo>
                    <a:pt x="324" y="12"/>
                    <a:pt x="312" y="0"/>
                    <a:pt x="298" y="0"/>
                  </a:cubicBezTo>
                  <a:close/>
                  <a:moveTo>
                    <a:pt x="233" y="125"/>
                  </a:moveTo>
                  <a:cubicBezTo>
                    <a:pt x="239" y="125"/>
                    <a:pt x="237" y="131"/>
                    <a:pt x="229" y="161"/>
                  </a:cubicBezTo>
                  <a:cubicBezTo>
                    <a:pt x="221" y="190"/>
                    <a:pt x="209" y="201"/>
                    <a:pt x="209" y="201"/>
                  </a:cubicBezTo>
                  <a:cubicBezTo>
                    <a:pt x="201" y="201"/>
                    <a:pt x="201" y="201"/>
                    <a:pt x="201" y="201"/>
                  </a:cubicBezTo>
                  <a:cubicBezTo>
                    <a:pt x="201" y="208"/>
                    <a:pt x="201" y="208"/>
                    <a:pt x="201" y="208"/>
                  </a:cubicBezTo>
                  <a:cubicBezTo>
                    <a:pt x="233" y="208"/>
                    <a:pt x="233" y="208"/>
                    <a:pt x="233" y="208"/>
                  </a:cubicBezTo>
                  <a:cubicBezTo>
                    <a:pt x="239" y="208"/>
                    <a:pt x="237" y="214"/>
                    <a:pt x="229" y="244"/>
                  </a:cubicBezTo>
                  <a:cubicBezTo>
                    <a:pt x="221" y="273"/>
                    <a:pt x="209" y="284"/>
                    <a:pt x="209" y="284"/>
                  </a:cubicBezTo>
                  <a:cubicBezTo>
                    <a:pt x="201" y="284"/>
                    <a:pt x="201" y="284"/>
                    <a:pt x="201" y="284"/>
                  </a:cubicBezTo>
                  <a:cubicBezTo>
                    <a:pt x="201" y="287"/>
                    <a:pt x="201" y="287"/>
                    <a:pt x="201" y="287"/>
                  </a:cubicBezTo>
                  <a:cubicBezTo>
                    <a:pt x="182" y="296"/>
                    <a:pt x="182" y="296"/>
                    <a:pt x="182" y="296"/>
                  </a:cubicBezTo>
                  <a:cubicBezTo>
                    <a:pt x="137" y="296"/>
                    <a:pt x="137" y="296"/>
                    <a:pt x="137" y="296"/>
                  </a:cubicBezTo>
                  <a:cubicBezTo>
                    <a:pt x="118" y="287"/>
                    <a:pt x="118" y="287"/>
                    <a:pt x="118" y="287"/>
                  </a:cubicBezTo>
                  <a:cubicBezTo>
                    <a:pt x="118" y="284"/>
                    <a:pt x="118" y="284"/>
                    <a:pt x="118" y="284"/>
                  </a:cubicBezTo>
                  <a:cubicBezTo>
                    <a:pt x="110" y="284"/>
                    <a:pt x="110" y="284"/>
                    <a:pt x="110" y="284"/>
                  </a:cubicBezTo>
                  <a:cubicBezTo>
                    <a:pt x="110" y="284"/>
                    <a:pt x="99" y="273"/>
                    <a:pt x="91" y="244"/>
                  </a:cubicBezTo>
                  <a:cubicBezTo>
                    <a:pt x="83" y="214"/>
                    <a:pt x="80" y="208"/>
                    <a:pt x="86" y="208"/>
                  </a:cubicBezTo>
                  <a:cubicBezTo>
                    <a:pt x="118" y="208"/>
                    <a:pt x="118" y="208"/>
                    <a:pt x="118" y="208"/>
                  </a:cubicBezTo>
                  <a:cubicBezTo>
                    <a:pt x="118" y="201"/>
                    <a:pt x="118" y="201"/>
                    <a:pt x="118" y="201"/>
                  </a:cubicBezTo>
                  <a:cubicBezTo>
                    <a:pt x="110" y="201"/>
                    <a:pt x="110" y="201"/>
                    <a:pt x="110" y="201"/>
                  </a:cubicBezTo>
                  <a:cubicBezTo>
                    <a:pt x="110" y="201"/>
                    <a:pt x="99" y="190"/>
                    <a:pt x="91" y="161"/>
                  </a:cubicBezTo>
                  <a:cubicBezTo>
                    <a:pt x="83" y="131"/>
                    <a:pt x="80" y="125"/>
                    <a:pt x="86" y="125"/>
                  </a:cubicBezTo>
                  <a:cubicBezTo>
                    <a:pt x="118" y="125"/>
                    <a:pt x="118" y="125"/>
                    <a:pt x="118" y="125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110" y="119"/>
                    <a:pt x="110" y="119"/>
                    <a:pt x="110" y="119"/>
                  </a:cubicBezTo>
                  <a:cubicBezTo>
                    <a:pt x="110" y="119"/>
                    <a:pt x="99" y="108"/>
                    <a:pt x="91" y="78"/>
                  </a:cubicBezTo>
                  <a:cubicBezTo>
                    <a:pt x="83" y="49"/>
                    <a:pt x="80" y="42"/>
                    <a:pt x="86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37" y="19"/>
                    <a:pt x="137" y="19"/>
                    <a:pt x="137" y="19"/>
                  </a:cubicBezTo>
                  <a:cubicBezTo>
                    <a:pt x="182" y="19"/>
                    <a:pt x="182" y="19"/>
                    <a:pt x="182" y="19"/>
                  </a:cubicBezTo>
                  <a:cubicBezTo>
                    <a:pt x="201" y="39"/>
                    <a:pt x="201" y="39"/>
                    <a:pt x="201" y="39"/>
                  </a:cubicBezTo>
                  <a:cubicBezTo>
                    <a:pt x="201" y="42"/>
                    <a:pt x="201" y="42"/>
                    <a:pt x="201" y="42"/>
                  </a:cubicBezTo>
                  <a:cubicBezTo>
                    <a:pt x="233" y="42"/>
                    <a:pt x="233" y="42"/>
                    <a:pt x="233" y="42"/>
                  </a:cubicBezTo>
                  <a:cubicBezTo>
                    <a:pt x="239" y="42"/>
                    <a:pt x="237" y="49"/>
                    <a:pt x="229" y="78"/>
                  </a:cubicBezTo>
                  <a:cubicBezTo>
                    <a:pt x="221" y="108"/>
                    <a:pt x="209" y="119"/>
                    <a:pt x="209" y="119"/>
                  </a:cubicBezTo>
                  <a:cubicBezTo>
                    <a:pt x="201" y="119"/>
                    <a:pt x="201" y="119"/>
                    <a:pt x="201" y="119"/>
                  </a:cubicBezTo>
                  <a:cubicBezTo>
                    <a:pt x="201" y="125"/>
                    <a:pt x="201" y="125"/>
                    <a:pt x="201" y="125"/>
                  </a:cubicBezTo>
                  <a:lnTo>
                    <a:pt x="233" y="12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Oval 36"/>
            <p:cNvSpPr>
              <a:spLocks noChangeArrowheads="1"/>
            </p:cNvSpPr>
            <p:nvPr/>
          </p:nvSpPr>
          <p:spPr bwMode="black">
            <a:xfrm>
              <a:off x="1027113" y="4251854"/>
              <a:ext cx="119063" cy="117475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Oval 37"/>
            <p:cNvSpPr>
              <a:spLocks noChangeArrowheads="1"/>
            </p:cNvSpPr>
            <p:nvPr/>
          </p:nvSpPr>
          <p:spPr bwMode="black">
            <a:xfrm>
              <a:off x="1027113" y="4399491"/>
              <a:ext cx="119063" cy="11906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Oval 38"/>
            <p:cNvSpPr>
              <a:spLocks noChangeArrowheads="1"/>
            </p:cNvSpPr>
            <p:nvPr/>
          </p:nvSpPr>
          <p:spPr bwMode="black">
            <a:xfrm>
              <a:off x="1027113" y="4545541"/>
              <a:ext cx="119063" cy="11906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63" name="Group 62"/>
          <p:cNvGrpSpPr>
            <a:grpSpLocks noChangeAspect="1"/>
          </p:cNvGrpSpPr>
          <p:nvPr userDrawn="1"/>
        </p:nvGrpSpPr>
        <p:grpSpPr bwMode="black">
          <a:xfrm>
            <a:off x="9311805" y="4750316"/>
            <a:ext cx="274213" cy="276316"/>
            <a:chOff x="741363" y="4105804"/>
            <a:chExt cx="700088" cy="698500"/>
          </a:xfrm>
          <a:solidFill>
            <a:srgbClr val="FFFFFF"/>
          </a:solidFill>
        </p:grpSpPr>
        <p:sp>
          <p:nvSpPr>
            <p:cNvPr id="64" name="Freeform 34"/>
            <p:cNvSpPr>
              <a:spLocks noEditPoints="1"/>
            </p:cNvSpPr>
            <p:nvPr/>
          </p:nvSpPr>
          <p:spPr bwMode="black">
            <a:xfrm>
              <a:off x="741363" y="4105804"/>
              <a:ext cx="700088" cy="698500"/>
            </a:xfrm>
            <a:custGeom>
              <a:avLst/>
              <a:gdLst>
                <a:gd name="T0" fmla="*/ 333 w 394"/>
                <a:gd name="T1" fmla="*/ 0 h 393"/>
                <a:gd name="T2" fmla="*/ 61 w 394"/>
                <a:gd name="T3" fmla="*/ 0 h 393"/>
                <a:gd name="T4" fmla="*/ 0 w 394"/>
                <a:gd name="T5" fmla="*/ 60 h 393"/>
                <a:gd name="T6" fmla="*/ 0 w 394"/>
                <a:gd name="T7" fmla="*/ 333 h 393"/>
                <a:gd name="T8" fmla="*/ 61 w 394"/>
                <a:gd name="T9" fmla="*/ 393 h 393"/>
                <a:gd name="T10" fmla="*/ 333 w 394"/>
                <a:gd name="T11" fmla="*/ 393 h 393"/>
                <a:gd name="T12" fmla="*/ 394 w 394"/>
                <a:gd name="T13" fmla="*/ 333 h 393"/>
                <a:gd name="T14" fmla="*/ 394 w 394"/>
                <a:gd name="T15" fmla="*/ 60 h 393"/>
                <a:gd name="T16" fmla="*/ 333 w 394"/>
                <a:gd name="T17" fmla="*/ 0 h 393"/>
                <a:gd name="T18" fmla="*/ 376 w 394"/>
                <a:gd name="T19" fmla="*/ 333 h 393"/>
                <a:gd name="T20" fmla="*/ 333 w 394"/>
                <a:gd name="T21" fmla="*/ 376 h 393"/>
                <a:gd name="T22" fmla="*/ 61 w 394"/>
                <a:gd name="T23" fmla="*/ 376 h 393"/>
                <a:gd name="T24" fmla="*/ 18 w 394"/>
                <a:gd name="T25" fmla="*/ 333 h 393"/>
                <a:gd name="T26" fmla="*/ 18 w 394"/>
                <a:gd name="T27" fmla="*/ 60 h 393"/>
                <a:gd name="T28" fmla="*/ 61 w 394"/>
                <a:gd name="T29" fmla="*/ 17 h 393"/>
                <a:gd name="T30" fmla="*/ 333 w 394"/>
                <a:gd name="T31" fmla="*/ 17 h 393"/>
                <a:gd name="T32" fmla="*/ 376 w 394"/>
                <a:gd name="T33" fmla="*/ 60 h 393"/>
                <a:gd name="T34" fmla="*/ 376 w 394"/>
                <a:gd name="T35" fmla="*/ 33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4" h="393">
                  <a:moveTo>
                    <a:pt x="333" y="0"/>
                  </a:moveTo>
                  <a:cubicBezTo>
                    <a:pt x="61" y="0"/>
                    <a:pt x="61" y="0"/>
                    <a:pt x="61" y="0"/>
                  </a:cubicBezTo>
                  <a:cubicBezTo>
                    <a:pt x="28" y="0"/>
                    <a:pt x="0" y="27"/>
                    <a:pt x="0" y="60"/>
                  </a:cubicBezTo>
                  <a:cubicBezTo>
                    <a:pt x="0" y="333"/>
                    <a:pt x="0" y="333"/>
                    <a:pt x="0" y="333"/>
                  </a:cubicBezTo>
                  <a:cubicBezTo>
                    <a:pt x="0" y="366"/>
                    <a:pt x="28" y="393"/>
                    <a:pt x="61" y="393"/>
                  </a:cubicBezTo>
                  <a:cubicBezTo>
                    <a:pt x="333" y="393"/>
                    <a:pt x="333" y="393"/>
                    <a:pt x="333" y="393"/>
                  </a:cubicBezTo>
                  <a:cubicBezTo>
                    <a:pt x="366" y="393"/>
                    <a:pt x="394" y="366"/>
                    <a:pt x="394" y="333"/>
                  </a:cubicBezTo>
                  <a:cubicBezTo>
                    <a:pt x="394" y="60"/>
                    <a:pt x="394" y="60"/>
                    <a:pt x="394" y="60"/>
                  </a:cubicBezTo>
                  <a:cubicBezTo>
                    <a:pt x="394" y="27"/>
                    <a:pt x="366" y="0"/>
                    <a:pt x="333" y="0"/>
                  </a:cubicBezTo>
                  <a:close/>
                  <a:moveTo>
                    <a:pt x="376" y="333"/>
                  </a:moveTo>
                  <a:cubicBezTo>
                    <a:pt x="376" y="356"/>
                    <a:pt x="357" y="376"/>
                    <a:pt x="333" y="376"/>
                  </a:cubicBezTo>
                  <a:cubicBezTo>
                    <a:pt x="61" y="376"/>
                    <a:pt x="61" y="376"/>
                    <a:pt x="61" y="376"/>
                  </a:cubicBezTo>
                  <a:cubicBezTo>
                    <a:pt x="37" y="376"/>
                    <a:pt x="18" y="356"/>
                    <a:pt x="18" y="333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37"/>
                    <a:pt x="37" y="17"/>
                    <a:pt x="61" y="17"/>
                  </a:cubicBezTo>
                  <a:cubicBezTo>
                    <a:pt x="333" y="17"/>
                    <a:pt x="333" y="17"/>
                    <a:pt x="333" y="17"/>
                  </a:cubicBezTo>
                  <a:cubicBezTo>
                    <a:pt x="357" y="17"/>
                    <a:pt x="376" y="37"/>
                    <a:pt x="376" y="60"/>
                  </a:cubicBezTo>
                  <a:lnTo>
                    <a:pt x="376" y="3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" name="Freeform 35"/>
            <p:cNvSpPr>
              <a:spLocks noChangeAspect="1" noEditPoints="1"/>
            </p:cNvSpPr>
            <p:nvPr/>
          </p:nvSpPr>
          <p:spPr bwMode="black">
            <a:xfrm>
              <a:off x="803276" y="4166128"/>
              <a:ext cx="576262" cy="576264"/>
            </a:xfrm>
            <a:custGeom>
              <a:avLst/>
              <a:gdLst>
                <a:gd name="T0" fmla="*/ 298 w 324"/>
                <a:gd name="T1" fmla="*/ 0 h 324"/>
                <a:gd name="T2" fmla="*/ 26 w 324"/>
                <a:gd name="T3" fmla="*/ 0 h 324"/>
                <a:gd name="T4" fmla="*/ 0 w 324"/>
                <a:gd name="T5" fmla="*/ 26 h 324"/>
                <a:gd name="T6" fmla="*/ 0 w 324"/>
                <a:gd name="T7" fmla="*/ 299 h 324"/>
                <a:gd name="T8" fmla="*/ 26 w 324"/>
                <a:gd name="T9" fmla="*/ 324 h 324"/>
                <a:gd name="T10" fmla="*/ 298 w 324"/>
                <a:gd name="T11" fmla="*/ 324 h 324"/>
                <a:gd name="T12" fmla="*/ 324 w 324"/>
                <a:gd name="T13" fmla="*/ 299 h 324"/>
                <a:gd name="T14" fmla="*/ 324 w 324"/>
                <a:gd name="T15" fmla="*/ 26 h 324"/>
                <a:gd name="T16" fmla="*/ 298 w 324"/>
                <a:gd name="T17" fmla="*/ 0 h 324"/>
                <a:gd name="T18" fmla="*/ 233 w 324"/>
                <a:gd name="T19" fmla="*/ 125 h 324"/>
                <a:gd name="T20" fmla="*/ 229 w 324"/>
                <a:gd name="T21" fmla="*/ 161 h 324"/>
                <a:gd name="T22" fmla="*/ 209 w 324"/>
                <a:gd name="T23" fmla="*/ 201 h 324"/>
                <a:gd name="T24" fmla="*/ 201 w 324"/>
                <a:gd name="T25" fmla="*/ 201 h 324"/>
                <a:gd name="T26" fmla="*/ 201 w 324"/>
                <a:gd name="T27" fmla="*/ 208 h 324"/>
                <a:gd name="T28" fmla="*/ 233 w 324"/>
                <a:gd name="T29" fmla="*/ 208 h 324"/>
                <a:gd name="T30" fmla="*/ 229 w 324"/>
                <a:gd name="T31" fmla="*/ 244 h 324"/>
                <a:gd name="T32" fmla="*/ 209 w 324"/>
                <a:gd name="T33" fmla="*/ 284 h 324"/>
                <a:gd name="T34" fmla="*/ 201 w 324"/>
                <a:gd name="T35" fmla="*/ 284 h 324"/>
                <a:gd name="T36" fmla="*/ 201 w 324"/>
                <a:gd name="T37" fmla="*/ 287 h 324"/>
                <a:gd name="T38" fmla="*/ 182 w 324"/>
                <a:gd name="T39" fmla="*/ 296 h 324"/>
                <a:gd name="T40" fmla="*/ 137 w 324"/>
                <a:gd name="T41" fmla="*/ 296 h 324"/>
                <a:gd name="T42" fmla="*/ 118 w 324"/>
                <a:gd name="T43" fmla="*/ 287 h 324"/>
                <a:gd name="T44" fmla="*/ 118 w 324"/>
                <a:gd name="T45" fmla="*/ 284 h 324"/>
                <a:gd name="T46" fmla="*/ 110 w 324"/>
                <a:gd name="T47" fmla="*/ 284 h 324"/>
                <a:gd name="T48" fmla="*/ 91 w 324"/>
                <a:gd name="T49" fmla="*/ 244 h 324"/>
                <a:gd name="T50" fmla="*/ 86 w 324"/>
                <a:gd name="T51" fmla="*/ 208 h 324"/>
                <a:gd name="T52" fmla="*/ 118 w 324"/>
                <a:gd name="T53" fmla="*/ 208 h 324"/>
                <a:gd name="T54" fmla="*/ 118 w 324"/>
                <a:gd name="T55" fmla="*/ 201 h 324"/>
                <a:gd name="T56" fmla="*/ 110 w 324"/>
                <a:gd name="T57" fmla="*/ 201 h 324"/>
                <a:gd name="T58" fmla="*/ 91 w 324"/>
                <a:gd name="T59" fmla="*/ 161 h 324"/>
                <a:gd name="T60" fmla="*/ 86 w 324"/>
                <a:gd name="T61" fmla="*/ 125 h 324"/>
                <a:gd name="T62" fmla="*/ 118 w 324"/>
                <a:gd name="T63" fmla="*/ 125 h 324"/>
                <a:gd name="T64" fmla="*/ 118 w 324"/>
                <a:gd name="T65" fmla="*/ 119 h 324"/>
                <a:gd name="T66" fmla="*/ 110 w 324"/>
                <a:gd name="T67" fmla="*/ 119 h 324"/>
                <a:gd name="T68" fmla="*/ 91 w 324"/>
                <a:gd name="T69" fmla="*/ 78 h 324"/>
                <a:gd name="T70" fmla="*/ 86 w 324"/>
                <a:gd name="T71" fmla="*/ 42 h 324"/>
                <a:gd name="T72" fmla="*/ 118 w 324"/>
                <a:gd name="T73" fmla="*/ 42 h 324"/>
                <a:gd name="T74" fmla="*/ 118 w 324"/>
                <a:gd name="T75" fmla="*/ 39 h 324"/>
                <a:gd name="T76" fmla="*/ 137 w 324"/>
                <a:gd name="T77" fmla="*/ 19 h 324"/>
                <a:gd name="T78" fmla="*/ 182 w 324"/>
                <a:gd name="T79" fmla="*/ 19 h 324"/>
                <a:gd name="T80" fmla="*/ 201 w 324"/>
                <a:gd name="T81" fmla="*/ 39 h 324"/>
                <a:gd name="T82" fmla="*/ 201 w 324"/>
                <a:gd name="T83" fmla="*/ 42 h 324"/>
                <a:gd name="T84" fmla="*/ 233 w 324"/>
                <a:gd name="T85" fmla="*/ 42 h 324"/>
                <a:gd name="T86" fmla="*/ 229 w 324"/>
                <a:gd name="T87" fmla="*/ 78 h 324"/>
                <a:gd name="T88" fmla="*/ 209 w 324"/>
                <a:gd name="T89" fmla="*/ 119 h 324"/>
                <a:gd name="T90" fmla="*/ 201 w 324"/>
                <a:gd name="T91" fmla="*/ 119 h 324"/>
                <a:gd name="T92" fmla="*/ 201 w 324"/>
                <a:gd name="T93" fmla="*/ 125 h 324"/>
                <a:gd name="T94" fmla="*/ 233 w 324"/>
                <a:gd name="T95" fmla="*/ 125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4" h="324">
                  <a:moveTo>
                    <a:pt x="298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0" y="313"/>
                    <a:pt x="12" y="324"/>
                    <a:pt x="26" y="324"/>
                  </a:cubicBezTo>
                  <a:cubicBezTo>
                    <a:pt x="298" y="324"/>
                    <a:pt x="298" y="324"/>
                    <a:pt x="298" y="324"/>
                  </a:cubicBezTo>
                  <a:cubicBezTo>
                    <a:pt x="312" y="324"/>
                    <a:pt x="324" y="313"/>
                    <a:pt x="324" y="299"/>
                  </a:cubicBezTo>
                  <a:cubicBezTo>
                    <a:pt x="324" y="26"/>
                    <a:pt x="324" y="26"/>
                    <a:pt x="324" y="26"/>
                  </a:cubicBezTo>
                  <a:cubicBezTo>
                    <a:pt x="324" y="12"/>
                    <a:pt x="312" y="0"/>
                    <a:pt x="298" y="0"/>
                  </a:cubicBezTo>
                  <a:close/>
                  <a:moveTo>
                    <a:pt x="233" y="125"/>
                  </a:moveTo>
                  <a:cubicBezTo>
                    <a:pt x="239" y="125"/>
                    <a:pt x="237" y="131"/>
                    <a:pt x="229" y="161"/>
                  </a:cubicBezTo>
                  <a:cubicBezTo>
                    <a:pt x="221" y="190"/>
                    <a:pt x="209" y="201"/>
                    <a:pt x="209" y="201"/>
                  </a:cubicBezTo>
                  <a:cubicBezTo>
                    <a:pt x="201" y="201"/>
                    <a:pt x="201" y="201"/>
                    <a:pt x="201" y="201"/>
                  </a:cubicBezTo>
                  <a:cubicBezTo>
                    <a:pt x="201" y="208"/>
                    <a:pt x="201" y="208"/>
                    <a:pt x="201" y="208"/>
                  </a:cubicBezTo>
                  <a:cubicBezTo>
                    <a:pt x="233" y="208"/>
                    <a:pt x="233" y="208"/>
                    <a:pt x="233" y="208"/>
                  </a:cubicBezTo>
                  <a:cubicBezTo>
                    <a:pt x="239" y="208"/>
                    <a:pt x="237" y="214"/>
                    <a:pt x="229" y="244"/>
                  </a:cubicBezTo>
                  <a:cubicBezTo>
                    <a:pt x="221" y="273"/>
                    <a:pt x="209" y="284"/>
                    <a:pt x="209" y="284"/>
                  </a:cubicBezTo>
                  <a:cubicBezTo>
                    <a:pt x="201" y="284"/>
                    <a:pt x="201" y="284"/>
                    <a:pt x="201" y="284"/>
                  </a:cubicBezTo>
                  <a:cubicBezTo>
                    <a:pt x="201" y="287"/>
                    <a:pt x="201" y="287"/>
                    <a:pt x="201" y="287"/>
                  </a:cubicBezTo>
                  <a:cubicBezTo>
                    <a:pt x="182" y="296"/>
                    <a:pt x="182" y="296"/>
                    <a:pt x="182" y="296"/>
                  </a:cubicBezTo>
                  <a:cubicBezTo>
                    <a:pt x="137" y="296"/>
                    <a:pt x="137" y="296"/>
                    <a:pt x="137" y="296"/>
                  </a:cubicBezTo>
                  <a:cubicBezTo>
                    <a:pt x="118" y="287"/>
                    <a:pt x="118" y="287"/>
                    <a:pt x="118" y="287"/>
                  </a:cubicBezTo>
                  <a:cubicBezTo>
                    <a:pt x="118" y="284"/>
                    <a:pt x="118" y="284"/>
                    <a:pt x="118" y="284"/>
                  </a:cubicBezTo>
                  <a:cubicBezTo>
                    <a:pt x="110" y="284"/>
                    <a:pt x="110" y="284"/>
                    <a:pt x="110" y="284"/>
                  </a:cubicBezTo>
                  <a:cubicBezTo>
                    <a:pt x="110" y="284"/>
                    <a:pt x="99" y="273"/>
                    <a:pt x="91" y="244"/>
                  </a:cubicBezTo>
                  <a:cubicBezTo>
                    <a:pt x="83" y="214"/>
                    <a:pt x="80" y="208"/>
                    <a:pt x="86" y="208"/>
                  </a:cubicBezTo>
                  <a:cubicBezTo>
                    <a:pt x="118" y="208"/>
                    <a:pt x="118" y="208"/>
                    <a:pt x="118" y="208"/>
                  </a:cubicBezTo>
                  <a:cubicBezTo>
                    <a:pt x="118" y="201"/>
                    <a:pt x="118" y="201"/>
                    <a:pt x="118" y="201"/>
                  </a:cubicBezTo>
                  <a:cubicBezTo>
                    <a:pt x="110" y="201"/>
                    <a:pt x="110" y="201"/>
                    <a:pt x="110" y="201"/>
                  </a:cubicBezTo>
                  <a:cubicBezTo>
                    <a:pt x="110" y="201"/>
                    <a:pt x="99" y="190"/>
                    <a:pt x="91" y="161"/>
                  </a:cubicBezTo>
                  <a:cubicBezTo>
                    <a:pt x="83" y="131"/>
                    <a:pt x="80" y="125"/>
                    <a:pt x="86" y="125"/>
                  </a:cubicBezTo>
                  <a:cubicBezTo>
                    <a:pt x="118" y="125"/>
                    <a:pt x="118" y="125"/>
                    <a:pt x="118" y="125"/>
                  </a:cubicBezTo>
                  <a:cubicBezTo>
                    <a:pt x="118" y="119"/>
                    <a:pt x="118" y="119"/>
                    <a:pt x="118" y="119"/>
                  </a:cubicBezTo>
                  <a:cubicBezTo>
                    <a:pt x="110" y="119"/>
                    <a:pt x="110" y="119"/>
                    <a:pt x="110" y="119"/>
                  </a:cubicBezTo>
                  <a:cubicBezTo>
                    <a:pt x="110" y="119"/>
                    <a:pt x="99" y="108"/>
                    <a:pt x="91" y="78"/>
                  </a:cubicBezTo>
                  <a:cubicBezTo>
                    <a:pt x="83" y="49"/>
                    <a:pt x="80" y="42"/>
                    <a:pt x="86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37" y="19"/>
                    <a:pt x="137" y="19"/>
                    <a:pt x="137" y="19"/>
                  </a:cubicBezTo>
                  <a:cubicBezTo>
                    <a:pt x="182" y="19"/>
                    <a:pt x="182" y="19"/>
                    <a:pt x="182" y="19"/>
                  </a:cubicBezTo>
                  <a:cubicBezTo>
                    <a:pt x="201" y="39"/>
                    <a:pt x="201" y="39"/>
                    <a:pt x="201" y="39"/>
                  </a:cubicBezTo>
                  <a:cubicBezTo>
                    <a:pt x="201" y="42"/>
                    <a:pt x="201" y="42"/>
                    <a:pt x="201" y="42"/>
                  </a:cubicBezTo>
                  <a:cubicBezTo>
                    <a:pt x="233" y="42"/>
                    <a:pt x="233" y="42"/>
                    <a:pt x="233" y="42"/>
                  </a:cubicBezTo>
                  <a:cubicBezTo>
                    <a:pt x="239" y="42"/>
                    <a:pt x="237" y="49"/>
                    <a:pt x="229" y="78"/>
                  </a:cubicBezTo>
                  <a:cubicBezTo>
                    <a:pt x="221" y="108"/>
                    <a:pt x="209" y="119"/>
                    <a:pt x="209" y="119"/>
                  </a:cubicBezTo>
                  <a:cubicBezTo>
                    <a:pt x="201" y="119"/>
                    <a:pt x="201" y="119"/>
                    <a:pt x="201" y="119"/>
                  </a:cubicBezTo>
                  <a:cubicBezTo>
                    <a:pt x="201" y="125"/>
                    <a:pt x="201" y="125"/>
                    <a:pt x="201" y="125"/>
                  </a:cubicBezTo>
                  <a:lnTo>
                    <a:pt x="233" y="12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Oval 36"/>
            <p:cNvSpPr>
              <a:spLocks noChangeArrowheads="1"/>
            </p:cNvSpPr>
            <p:nvPr/>
          </p:nvSpPr>
          <p:spPr bwMode="black">
            <a:xfrm>
              <a:off x="1027113" y="4251854"/>
              <a:ext cx="119063" cy="117475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" name="Oval 37"/>
            <p:cNvSpPr>
              <a:spLocks noChangeArrowheads="1"/>
            </p:cNvSpPr>
            <p:nvPr/>
          </p:nvSpPr>
          <p:spPr bwMode="black">
            <a:xfrm>
              <a:off x="1027113" y="4399491"/>
              <a:ext cx="119063" cy="11906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Oval 38"/>
            <p:cNvSpPr>
              <a:spLocks noChangeArrowheads="1"/>
            </p:cNvSpPr>
            <p:nvPr/>
          </p:nvSpPr>
          <p:spPr bwMode="black">
            <a:xfrm>
              <a:off x="1027113" y="4545541"/>
              <a:ext cx="119063" cy="11906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7220382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enario Details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 bwMode="auto">
          <a:xfrm>
            <a:off x="4203823" y="0"/>
            <a:ext cx="3727236" cy="6859588"/>
          </a:xfrm>
          <a:prstGeom prst="rect">
            <a:avLst/>
          </a:prstGeom>
          <a:solidFill>
            <a:srgbClr val="8CB1D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5702" tIns="274213" rIns="45702" bIns="4570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ENABLING TECHNOLOGIES</a:t>
            </a:r>
          </a:p>
        </p:txBody>
      </p:sp>
      <p:sp>
        <p:nvSpPr>
          <p:cNvPr id="7" name="Rectangle 6"/>
          <p:cNvSpPr/>
          <p:nvPr/>
        </p:nvSpPr>
        <p:spPr bwMode="white">
          <a:xfrm>
            <a:off x="7905669" y="0"/>
            <a:ext cx="4281569" cy="685958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36" tIns="45636" rIns="45636" bIns="456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23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99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25741" y="6321651"/>
            <a:ext cx="1461498" cy="537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8074046" y="692757"/>
            <a:ext cx="955302" cy="955896"/>
          </a:xfrm>
        </p:spPr>
        <p:txBody>
          <a:bodyPr/>
          <a:lstStyle>
            <a:lvl1pPr marL="0" indent="0">
              <a:buFontTx/>
              <a:buNone/>
              <a:defRPr sz="1999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7905669" y="177841"/>
            <a:ext cx="4281569" cy="4362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3983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High Impact Persona Examples</a:t>
            </a:r>
          </a:p>
        </p:txBody>
      </p:sp>
      <p:sp>
        <p:nvSpPr>
          <p:cNvPr id="20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074046" y="1768602"/>
            <a:ext cx="955302" cy="955896"/>
          </a:xfrm>
        </p:spPr>
        <p:txBody>
          <a:bodyPr/>
          <a:lstStyle>
            <a:lvl1pPr marL="0" indent="0">
              <a:buFontTx/>
              <a:buNone/>
              <a:defRPr sz="1999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8074046" y="2844447"/>
            <a:ext cx="955302" cy="955896"/>
          </a:xfrm>
        </p:spPr>
        <p:txBody>
          <a:bodyPr/>
          <a:lstStyle>
            <a:lvl1pPr marL="0" indent="0">
              <a:buFontTx/>
              <a:buNone/>
              <a:defRPr sz="1999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7" name="Rectangle 26"/>
          <p:cNvSpPr/>
          <p:nvPr userDrawn="1"/>
        </p:nvSpPr>
        <p:spPr bwMode="auto">
          <a:xfrm>
            <a:off x="232994" y="197175"/>
            <a:ext cx="3765857" cy="436229"/>
          </a:xfrm>
          <a:prstGeom prst="rect">
            <a:avLst/>
          </a:prstGeom>
          <a:solidFill>
            <a:srgbClr val="8CB1D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502724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Business Benefits</a:t>
            </a:r>
          </a:p>
        </p:txBody>
      </p:sp>
      <p:sp>
        <p:nvSpPr>
          <p:cNvPr id="28" name="Content Placeholder 47"/>
          <p:cNvSpPr>
            <a:spLocks noGrp="1"/>
          </p:cNvSpPr>
          <p:nvPr>
            <p:ph sz="quarter" idx="23" hasCustomPrompt="1"/>
          </p:nvPr>
        </p:nvSpPr>
        <p:spPr>
          <a:xfrm>
            <a:off x="235733" y="647876"/>
            <a:ext cx="3767638" cy="1382273"/>
          </a:xfrm>
        </p:spPr>
        <p:txBody>
          <a:bodyPr lIns="45720" tIns="45720" rIns="45720"/>
          <a:lstStyle>
            <a:lvl1pPr marL="171381" indent="-171381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lang="en-US" sz="1200" kern="1200" spc="0" baseline="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171381" indent="-171381">
              <a:buFont typeface="Wingdings" panose="05000000000000000000" pitchFamily="2" charset="2"/>
              <a:buChar char="§"/>
              <a:defRPr lang="en-US" sz="1100" kern="1200" spc="-71" baseline="0" dirty="0" smtClean="0">
                <a:solidFill>
                  <a:schemeClr val="accent6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285636" indent="-171381">
              <a:buFont typeface="Wingdings" panose="05000000000000000000" pitchFamily="2" charset="2"/>
              <a:buChar char="§"/>
              <a:defRPr sz="1100"/>
            </a:lvl3pPr>
            <a:lvl4pPr marL="349110" indent="-171381">
              <a:buFont typeface="Wingdings" panose="05000000000000000000" pitchFamily="2" charset="2"/>
              <a:buChar char="§"/>
              <a:defRPr sz="1050"/>
            </a:lvl4pPr>
            <a:lvl5pPr marL="349110" indent="-171381">
              <a:buFont typeface="Wingdings" panose="05000000000000000000" pitchFamily="2" charset="2"/>
              <a:buChar char="§"/>
              <a:defRPr sz="105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5" name="Picture 3" descr="\\MAGNUM\Projects\Microsoft\Cloud Power FY12\Design\Icons\PNGs\Scalable_Elastic_4.png"/>
          <p:cNvPicPr>
            <a:picLocks noChangeAspect="1" noChangeArrowheads="1"/>
          </p:cNvPicPr>
          <p:nvPr userDrawn="1"/>
        </p:nvPicPr>
        <p:blipFill>
          <a:blip r:embed="rId3" cstate="email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47" y="182239"/>
            <a:ext cx="458116" cy="458401"/>
          </a:xfrm>
          <a:prstGeom prst="rect">
            <a:avLst/>
          </a:prstGeom>
          <a:noFill/>
        </p:spPr>
      </p:pic>
      <p:sp>
        <p:nvSpPr>
          <p:cNvPr id="78" name="Rectangle 77"/>
          <p:cNvSpPr/>
          <p:nvPr userDrawn="1"/>
        </p:nvSpPr>
        <p:spPr bwMode="auto">
          <a:xfrm>
            <a:off x="232994" y="2522513"/>
            <a:ext cx="3765857" cy="436229"/>
          </a:xfrm>
          <a:prstGeom prst="rect">
            <a:avLst/>
          </a:prstGeom>
          <a:solidFill>
            <a:srgbClr val="8CB1D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502724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Business Change </a:t>
            </a:r>
          </a:p>
        </p:txBody>
      </p:sp>
      <p:sp>
        <p:nvSpPr>
          <p:cNvPr id="81" name="Rectangle 80"/>
          <p:cNvSpPr/>
          <p:nvPr userDrawn="1"/>
        </p:nvSpPr>
        <p:spPr bwMode="auto">
          <a:xfrm>
            <a:off x="232994" y="4717078"/>
            <a:ext cx="3765857" cy="436229"/>
          </a:xfrm>
          <a:prstGeom prst="rect">
            <a:avLst/>
          </a:prstGeom>
          <a:solidFill>
            <a:srgbClr val="8CB1D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502724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Metrics &amp; Measures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7983354" y="203174"/>
            <a:ext cx="557740" cy="382916"/>
            <a:chOff x="7999173" y="25327"/>
            <a:chExt cx="557958" cy="382827"/>
          </a:xfrm>
        </p:grpSpPr>
        <p:pic>
          <p:nvPicPr>
            <p:cNvPr id="87" name="Picture 4" descr="\\MAGNUM\Projects\Microsoft\Cloud Power FY12\Design\Icons\PNGs\IT_guy.png"/>
            <p:cNvPicPr>
              <a:picLocks noChangeAspect="1" noChangeArrowheads="1"/>
            </p:cNvPicPr>
            <p:nvPr userDrawn="1"/>
          </p:nvPicPr>
          <p:blipFill>
            <a:blip r:embed="rId4" cstate="email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99173" y="25327"/>
              <a:ext cx="357427" cy="357427"/>
            </a:xfrm>
            <a:prstGeom prst="rect">
              <a:avLst/>
            </a:prstGeom>
            <a:noFill/>
          </p:spPr>
        </p:pic>
        <p:pic>
          <p:nvPicPr>
            <p:cNvPr id="88" name="Picture 4" descr="\\MAGNUM\Projects\Microsoft\Cloud Power FY12\Design\Icons\PNGs\IT_guy.png"/>
            <p:cNvPicPr>
              <a:picLocks noChangeAspect="1" noChangeArrowheads="1"/>
            </p:cNvPicPr>
            <p:nvPr userDrawn="1"/>
          </p:nvPicPr>
          <p:blipFill>
            <a:blip r:embed="rId4" cstate="email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96589" y="50727"/>
              <a:ext cx="357427" cy="357427"/>
            </a:xfrm>
            <a:prstGeom prst="rect">
              <a:avLst/>
            </a:prstGeom>
            <a:noFill/>
          </p:spPr>
        </p:pic>
        <p:pic>
          <p:nvPicPr>
            <p:cNvPr id="89" name="Picture 4" descr="\\MAGNUM\Projects\Microsoft\Cloud Power FY12\Design\Icons\PNGs\IT_guy.png"/>
            <p:cNvPicPr>
              <a:picLocks noChangeAspect="1" noChangeArrowheads="1"/>
            </p:cNvPicPr>
            <p:nvPr userDrawn="1"/>
          </p:nvPicPr>
          <p:blipFill>
            <a:blip r:embed="rId4" cstate="email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99704" y="25327"/>
              <a:ext cx="357427" cy="357427"/>
            </a:xfrm>
            <a:prstGeom prst="rect">
              <a:avLst/>
            </a:prstGeom>
            <a:noFill/>
          </p:spPr>
        </p:pic>
      </p:grpSp>
      <p:sp>
        <p:nvSpPr>
          <p:cNvPr id="91" name="Freeform 90"/>
          <p:cNvSpPr/>
          <p:nvPr userDrawn="1"/>
        </p:nvSpPr>
        <p:spPr>
          <a:xfrm rot="12635514">
            <a:off x="328279" y="4821679"/>
            <a:ext cx="357376" cy="300014"/>
          </a:xfrm>
          <a:custGeom>
            <a:avLst/>
            <a:gdLst>
              <a:gd name="connsiteX0" fmla="*/ 664814 w 1528805"/>
              <a:gd name="connsiteY0" fmla="*/ 385562 h 1282626"/>
              <a:gd name="connsiteX1" fmla="*/ 664814 w 1528805"/>
              <a:gd name="connsiteY1" fmla="*/ 379615 h 1282626"/>
              <a:gd name="connsiteX2" fmla="*/ 674861 w 1528805"/>
              <a:gd name="connsiteY2" fmla="*/ 379615 h 1282626"/>
              <a:gd name="connsiteX3" fmla="*/ 669228 w 1528805"/>
              <a:gd name="connsiteY3" fmla="*/ 381531 h 1282626"/>
              <a:gd name="connsiteX4" fmla="*/ 780408 w 1528805"/>
              <a:gd name="connsiteY4" fmla="*/ 381805 h 1282626"/>
              <a:gd name="connsiteX5" fmla="*/ 780408 w 1528805"/>
              <a:gd name="connsiteY5" fmla="*/ 379615 h 1282626"/>
              <a:gd name="connsiteX6" fmla="*/ 775985 w 1528805"/>
              <a:gd name="connsiteY6" fmla="*/ 379615 h 1282626"/>
              <a:gd name="connsiteX7" fmla="*/ 1389946 w 1528805"/>
              <a:gd name="connsiteY7" fmla="*/ 93668 h 1282626"/>
              <a:gd name="connsiteX8" fmla="*/ 1322166 w 1528805"/>
              <a:gd name="connsiteY8" fmla="*/ 74994 h 1282626"/>
              <a:gd name="connsiteX9" fmla="*/ 1338474 w 1528805"/>
              <a:gd name="connsiteY9" fmla="*/ 6605 h 1282626"/>
              <a:gd name="connsiteX10" fmla="*/ 1406254 w 1528805"/>
              <a:gd name="connsiteY10" fmla="*/ 25280 h 1282626"/>
              <a:gd name="connsiteX11" fmla="*/ 1389946 w 1528805"/>
              <a:gd name="connsiteY11" fmla="*/ 93668 h 1282626"/>
              <a:gd name="connsiteX12" fmla="*/ 75038 w 1528805"/>
              <a:gd name="connsiteY12" fmla="*/ 871052 h 1282626"/>
              <a:gd name="connsiteX13" fmla="*/ 7258 w 1528805"/>
              <a:gd name="connsiteY13" fmla="*/ 852377 h 1282626"/>
              <a:gd name="connsiteX14" fmla="*/ 23566 w 1528805"/>
              <a:gd name="connsiteY14" fmla="*/ 783989 h 1282626"/>
              <a:gd name="connsiteX15" fmla="*/ 91345 w 1528805"/>
              <a:gd name="connsiteY15" fmla="*/ 802664 h 1282626"/>
              <a:gd name="connsiteX16" fmla="*/ 75038 w 1528805"/>
              <a:gd name="connsiteY16" fmla="*/ 871052 h 1282626"/>
              <a:gd name="connsiteX17" fmla="*/ 1505239 w 1528805"/>
              <a:gd name="connsiteY17" fmla="*/ 486273 h 1282626"/>
              <a:gd name="connsiteX18" fmla="*/ 1437459 w 1528805"/>
              <a:gd name="connsiteY18" fmla="*/ 467598 h 1282626"/>
              <a:gd name="connsiteX19" fmla="*/ 1453767 w 1528805"/>
              <a:gd name="connsiteY19" fmla="*/ 399210 h 1282626"/>
              <a:gd name="connsiteX20" fmla="*/ 1521547 w 1528805"/>
              <a:gd name="connsiteY20" fmla="*/ 417885 h 1282626"/>
              <a:gd name="connsiteX21" fmla="*/ 1505239 w 1528805"/>
              <a:gd name="connsiteY21" fmla="*/ 486273 h 1282626"/>
              <a:gd name="connsiteX22" fmla="*/ 363455 w 1528805"/>
              <a:gd name="connsiteY22" fmla="*/ 1161305 h 1282626"/>
              <a:gd name="connsiteX23" fmla="*/ 295675 w 1528805"/>
              <a:gd name="connsiteY23" fmla="*/ 1142630 h 1282626"/>
              <a:gd name="connsiteX24" fmla="*/ 311983 w 1528805"/>
              <a:gd name="connsiteY24" fmla="*/ 1074242 h 1282626"/>
              <a:gd name="connsiteX25" fmla="*/ 379763 w 1528805"/>
              <a:gd name="connsiteY25" fmla="*/ 1092917 h 1282626"/>
              <a:gd name="connsiteX26" fmla="*/ 363455 w 1528805"/>
              <a:gd name="connsiteY26" fmla="*/ 1161305 h 1282626"/>
              <a:gd name="connsiteX27" fmla="*/ 722611 w 1528805"/>
              <a:gd name="connsiteY27" fmla="*/ 1057502 h 1282626"/>
              <a:gd name="connsiteX28" fmla="*/ 715534 w 1528805"/>
              <a:gd name="connsiteY28" fmla="*/ 1050425 h 1282626"/>
              <a:gd name="connsiteX29" fmla="*/ 730005 w 1528805"/>
              <a:gd name="connsiteY29" fmla="*/ 1050108 h 1282626"/>
              <a:gd name="connsiteX30" fmla="*/ 1017254 w 1528805"/>
              <a:gd name="connsiteY30" fmla="*/ 970201 h 1282626"/>
              <a:gd name="connsiteX31" fmla="*/ 785931 w 1528805"/>
              <a:gd name="connsiteY31" fmla="*/ 1048882 h 1282626"/>
              <a:gd name="connsiteX32" fmla="*/ 730005 w 1528805"/>
              <a:gd name="connsiteY32" fmla="*/ 1050108 h 1282626"/>
              <a:gd name="connsiteX33" fmla="*/ 838205 w 1528805"/>
              <a:gd name="connsiteY33" fmla="*/ 941908 h 1282626"/>
              <a:gd name="connsiteX34" fmla="*/ 780408 w 1528805"/>
              <a:gd name="connsiteY34" fmla="*/ 941908 h 1282626"/>
              <a:gd name="connsiteX35" fmla="*/ 780408 w 1528805"/>
              <a:gd name="connsiteY35" fmla="*/ 589768 h 1282626"/>
              <a:gd name="connsiteX36" fmla="*/ 747076 w 1528805"/>
              <a:gd name="connsiteY36" fmla="*/ 601106 h 1282626"/>
              <a:gd name="connsiteX37" fmla="*/ 702653 w 1528805"/>
              <a:gd name="connsiteY37" fmla="*/ 597745 h 1282626"/>
              <a:gd name="connsiteX38" fmla="*/ 664814 w 1528805"/>
              <a:gd name="connsiteY38" fmla="*/ 579013 h 1282626"/>
              <a:gd name="connsiteX39" fmla="*/ 664814 w 1528805"/>
              <a:gd name="connsiteY39" fmla="*/ 941908 h 1282626"/>
              <a:gd name="connsiteX40" fmla="*/ 607017 w 1528805"/>
              <a:gd name="connsiteY40" fmla="*/ 941908 h 1282626"/>
              <a:gd name="connsiteX41" fmla="*/ 715534 w 1528805"/>
              <a:gd name="connsiteY41" fmla="*/ 1050425 h 1282626"/>
              <a:gd name="connsiteX42" fmla="*/ 666236 w 1528805"/>
              <a:gd name="connsiteY42" fmla="*/ 1051507 h 1282626"/>
              <a:gd name="connsiteX43" fmla="*/ 164567 w 1528805"/>
              <a:gd name="connsiteY43" fmla="*/ 735263 h 1282626"/>
              <a:gd name="connsiteX44" fmla="*/ 642077 w 1528805"/>
              <a:gd name="connsiteY44" fmla="*/ 452955 h 1282626"/>
              <a:gd name="connsiteX45" fmla="*/ 637768 w 1528805"/>
              <a:gd name="connsiteY45" fmla="*/ 462416 h 1282626"/>
              <a:gd name="connsiteX46" fmla="*/ 648525 w 1528805"/>
              <a:gd name="connsiteY46" fmla="*/ 532002 h 1282626"/>
              <a:gd name="connsiteX47" fmla="*/ 772443 w 1528805"/>
              <a:gd name="connsiteY47" fmla="*/ 566144 h 1282626"/>
              <a:gd name="connsiteX48" fmla="*/ 802258 w 1528805"/>
              <a:gd name="connsiteY48" fmla="*/ 441114 h 1282626"/>
              <a:gd name="connsiteX49" fmla="*/ 746473 w 1528805"/>
              <a:gd name="connsiteY49" fmla="*/ 398148 h 1282626"/>
              <a:gd name="connsiteX50" fmla="*/ 736107 w 1528805"/>
              <a:gd name="connsiteY50" fmla="*/ 397364 h 1282626"/>
              <a:gd name="connsiteX51" fmla="*/ 1222404 w 1528805"/>
              <a:gd name="connsiteY51" fmla="*/ 109861 h 1282626"/>
              <a:gd name="connsiteX52" fmla="*/ 1017254 w 1528805"/>
              <a:gd name="connsiteY52" fmla="*/ 970201 h 1282626"/>
              <a:gd name="connsiteX53" fmla="*/ 714973 w 1528805"/>
              <a:gd name="connsiteY53" fmla="*/ 1276021 h 1282626"/>
              <a:gd name="connsiteX54" fmla="*/ 647193 w 1528805"/>
              <a:gd name="connsiteY54" fmla="*/ 1257347 h 1282626"/>
              <a:gd name="connsiteX55" fmla="*/ 663501 w 1528805"/>
              <a:gd name="connsiteY55" fmla="*/ 1188959 h 1282626"/>
              <a:gd name="connsiteX56" fmla="*/ 731280 w 1528805"/>
              <a:gd name="connsiteY56" fmla="*/ 1207633 h 1282626"/>
              <a:gd name="connsiteX57" fmla="*/ 714973 w 1528805"/>
              <a:gd name="connsiteY57" fmla="*/ 1276021 h 1282626"/>
              <a:gd name="connsiteX58" fmla="*/ 1399220 w 1528805"/>
              <a:gd name="connsiteY58" fmla="*/ 871489 h 1282626"/>
              <a:gd name="connsiteX59" fmla="*/ 1331440 w 1528805"/>
              <a:gd name="connsiteY59" fmla="*/ 852814 h 1282626"/>
              <a:gd name="connsiteX60" fmla="*/ 1347748 w 1528805"/>
              <a:gd name="connsiteY60" fmla="*/ 784426 h 1282626"/>
              <a:gd name="connsiteX61" fmla="*/ 1415528 w 1528805"/>
              <a:gd name="connsiteY61" fmla="*/ 803101 h 1282626"/>
              <a:gd name="connsiteX62" fmla="*/ 1399220 w 1528805"/>
              <a:gd name="connsiteY62" fmla="*/ 871489 h 1282626"/>
              <a:gd name="connsiteX63" fmla="*/ 1125898 w 1528805"/>
              <a:gd name="connsiteY63" fmla="*/ 1171310 h 1282626"/>
              <a:gd name="connsiteX64" fmla="*/ 1058118 w 1528805"/>
              <a:gd name="connsiteY64" fmla="*/ 1152635 h 1282626"/>
              <a:gd name="connsiteX65" fmla="*/ 1074426 w 1528805"/>
              <a:gd name="connsiteY65" fmla="*/ 1084247 h 1282626"/>
              <a:gd name="connsiteX66" fmla="*/ 1142206 w 1528805"/>
              <a:gd name="connsiteY66" fmla="*/ 1102922 h 1282626"/>
              <a:gd name="connsiteX67" fmla="*/ 1125898 w 1528805"/>
              <a:gd name="connsiteY67" fmla="*/ 1171310 h 1282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1528805" h="1282626">
                <a:moveTo>
                  <a:pt x="664814" y="385562"/>
                </a:moveTo>
                <a:lnTo>
                  <a:pt x="664814" y="379615"/>
                </a:lnTo>
                <a:lnTo>
                  <a:pt x="674861" y="379615"/>
                </a:lnTo>
                <a:lnTo>
                  <a:pt x="669228" y="381531"/>
                </a:lnTo>
                <a:close/>
                <a:moveTo>
                  <a:pt x="780408" y="381805"/>
                </a:moveTo>
                <a:lnTo>
                  <a:pt x="780408" y="379615"/>
                </a:lnTo>
                <a:lnTo>
                  <a:pt x="775985" y="379615"/>
                </a:lnTo>
                <a:close/>
                <a:moveTo>
                  <a:pt x="1389946" y="93668"/>
                </a:moveTo>
                <a:cubicBezTo>
                  <a:pt x="1366725" y="107396"/>
                  <a:pt x="1336379" y="99035"/>
                  <a:pt x="1322166" y="74994"/>
                </a:cubicBezTo>
                <a:cubicBezTo>
                  <a:pt x="1307952" y="50952"/>
                  <a:pt x="1315253" y="20334"/>
                  <a:pt x="1338474" y="6605"/>
                </a:cubicBezTo>
                <a:cubicBezTo>
                  <a:pt x="1361694" y="-7123"/>
                  <a:pt x="1392040" y="1239"/>
                  <a:pt x="1406254" y="25280"/>
                </a:cubicBezTo>
                <a:cubicBezTo>
                  <a:pt x="1420467" y="49322"/>
                  <a:pt x="1413166" y="79940"/>
                  <a:pt x="1389946" y="93668"/>
                </a:cubicBezTo>
                <a:close/>
                <a:moveTo>
                  <a:pt x="75038" y="871052"/>
                </a:moveTo>
                <a:cubicBezTo>
                  <a:pt x="51817" y="884780"/>
                  <a:pt x="21471" y="876419"/>
                  <a:pt x="7258" y="852377"/>
                </a:cubicBezTo>
                <a:cubicBezTo>
                  <a:pt x="-6956" y="828335"/>
                  <a:pt x="345" y="797717"/>
                  <a:pt x="23566" y="783989"/>
                </a:cubicBezTo>
                <a:cubicBezTo>
                  <a:pt x="46786" y="770261"/>
                  <a:pt x="77132" y="778622"/>
                  <a:pt x="91345" y="802664"/>
                </a:cubicBezTo>
                <a:cubicBezTo>
                  <a:pt x="105559" y="826705"/>
                  <a:pt x="98258" y="857324"/>
                  <a:pt x="75038" y="871052"/>
                </a:cubicBezTo>
                <a:close/>
                <a:moveTo>
                  <a:pt x="1505239" y="486273"/>
                </a:moveTo>
                <a:cubicBezTo>
                  <a:pt x="1482019" y="500001"/>
                  <a:pt x="1451673" y="491640"/>
                  <a:pt x="1437459" y="467598"/>
                </a:cubicBezTo>
                <a:cubicBezTo>
                  <a:pt x="1423246" y="443557"/>
                  <a:pt x="1430547" y="412939"/>
                  <a:pt x="1453767" y="399210"/>
                </a:cubicBezTo>
                <a:cubicBezTo>
                  <a:pt x="1476988" y="385482"/>
                  <a:pt x="1507334" y="393843"/>
                  <a:pt x="1521547" y="417885"/>
                </a:cubicBezTo>
                <a:cubicBezTo>
                  <a:pt x="1535761" y="441927"/>
                  <a:pt x="1528460" y="472545"/>
                  <a:pt x="1505239" y="486273"/>
                </a:cubicBezTo>
                <a:close/>
                <a:moveTo>
                  <a:pt x="363455" y="1161305"/>
                </a:moveTo>
                <a:cubicBezTo>
                  <a:pt x="340234" y="1175033"/>
                  <a:pt x="309888" y="1166672"/>
                  <a:pt x="295675" y="1142630"/>
                </a:cubicBezTo>
                <a:cubicBezTo>
                  <a:pt x="281461" y="1118588"/>
                  <a:pt x="288762" y="1087970"/>
                  <a:pt x="311983" y="1074242"/>
                </a:cubicBezTo>
                <a:cubicBezTo>
                  <a:pt x="335203" y="1060514"/>
                  <a:pt x="365549" y="1068875"/>
                  <a:pt x="379763" y="1092917"/>
                </a:cubicBezTo>
                <a:cubicBezTo>
                  <a:pt x="393976" y="1116958"/>
                  <a:pt x="386675" y="1147577"/>
                  <a:pt x="363455" y="1161305"/>
                </a:cubicBezTo>
                <a:close/>
                <a:moveTo>
                  <a:pt x="722611" y="1057502"/>
                </a:moveTo>
                <a:lnTo>
                  <a:pt x="715534" y="1050425"/>
                </a:lnTo>
                <a:lnTo>
                  <a:pt x="730005" y="1050108"/>
                </a:lnTo>
                <a:close/>
                <a:moveTo>
                  <a:pt x="1017254" y="970201"/>
                </a:moveTo>
                <a:cubicBezTo>
                  <a:pt x="944225" y="1013376"/>
                  <a:pt x="865594" y="1039182"/>
                  <a:pt x="785931" y="1048882"/>
                </a:cubicBezTo>
                <a:lnTo>
                  <a:pt x="730005" y="1050108"/>
                </a:lnTo>
                <a:lnTo>
                  <a:pt x="838205" y="941908"/>
                </a:lnTo>
                <a:lnTo>
                  <a:pt x="780408" y="941908"/>
                </a:lnTo>
                <a:lnTo>
                  <a:pt x="780408" y="589768"/>
                </a:lnTo>
                <a:lnTo>
                  <a:pt x="747076" y="601106"/>
                </a:lnTo>
                <a:cubicBezTo>
                  <a:pt x="732176" y="602920"/>
                  <a:pt x="717083" y="601721"/>
                  <a:pt x="702653" y="597745"/>
                </a:cubicBezTo>
                <a:lnTo>
                  <a:pt x="664814" y="579013"/>
                </a:lnTo>
                <a:lnTo>
                  <a:pt x="664814" y="941908"/>
                </a:lnTo>
                <a:lnTo>
                  <a:pt x="607017" y="941908"/>
                </a:lnTo>
                <a:lnTo>
                  <a:pt x="715534" y="1050425"/>
                </a:lnTo>
                <a:lnTo>
                  <a:pt x="666236" y="1051507"/>
                </a:lnTo>
                <a:cubicBezTo>
                  <a:pt x="467359" y="1036271"/>
                  <a:pt x="276325" y="924295"/>
                  <a:pt x="164567" y="735263"/>
                </a:cubicBezTo>
                <a:lnTo>
                  <a:pt x="642077" y="452955"/>
                </a:lnTo>
                <a:lnTo>
                  <a:pt x="637768" y="462416"/>
                </a:lnTo>
                <a:cubicBezTo>
                  <a:pt x="632373" y="485042"/>
                  <a:pt x="635532" y="510025"/>
                  <a:pt x="648525" y="532002"/>
                </a:cubicBezTo>
                <a:cubicBezTo>
                  <a:pt x="674511" y="575956"/>
                  <a:pt x="729992" y="591242"/>
                  <a:pt x="772443" y="566144"/>
                </a:cubicBezTo>
                <a:cubicBezTo>
                  <a:pt x="814895" y="541047"/>
                  <a:pt x="828244" y="485068"/>
                  <a:pt x="802258" y="441114"/>
                </a:cubicBezTo>
                <a:cubicBezTo>
                  <a:pt x="789265" y="419137"/>
                  <a:pt x="768898" y="404327"/>
                  <a:pt x="746473" y="398148"/>
                </a:cubicBezTo>
                <a:lnTo>
                  <a:pt x="736107" y="397364"/>
                </a:lnTo>
                <a:lnTo>
                  <a:pt x="1222404" y="109861"/>
                </a:lnTo>
                <a:cubicBezTo>
                  <a:pt x="1401216" y="412313"/>
                  <a:pt x="1309368" y="797501"/>
                  <a:pt x="1017254" y="970201"/>
                </a:cubicBezTo>
                <a:close/>
                <a:moveTo>
                  <a:pt x="714973" y="1276021"/>
                </a:moveTo>
                <a:cubicBezTo>
                  <a:pt x="691752" y="1289749"/>
                  <a:pt x="661406" y="1281388"/>
                  <a:pt x="647193" y="1257347"/>
                </a:cubicBezTo>
                <a:cubicBezTo>
                  <a:pt x="632979" y="1233305"/>
                  <a:pt x="640280" y="1202687"/>
                  <a:pt x="663501" y="1188959"/>
                </a:cubicBezTo>
                <a:cubicBezTo>
                  <a:pt x="686721" y="1175231"/>
                  <a:pt x="717067" y="1183592"/>
                  <a:pt x="731280" y="1207633"/>
                </a:cubicBezTo>
                <a:cubicBezTo>
                  <a:pt x="745494" y="1231675"/>
                  <a:pt x="738193" y="1262293"/>
                  <a:pt x="714973" y="1276021"/>
                </a:cubicBezTo>
                <a:close/>
                <a:moveTo>
                  <a:pt x="1399220" y="871489"/>
                </a:moveTo>
                <a:cubicBezTo>
                  <a:pt x="1376000" y="885217"/>
                  <a:pt x="1345654" y="876856"/>
                  <a:pt x="1331440" y="852814"/>
                </a:cubicBezTo>
                <a:cubicBezTo>
                  <a:pt x="1317226" y="828773"/>
                  <a:pt x="1324527" y="798155"/>
                  <a:pt x="1347748" y="784426"/>
                </a:cubicBezTo>
                <a:cubicBezTo>
                  <a:pt x="1370968" y="770698"/>
                  <a:pt x="1401314" y="779059"/>
                  <a:pt x="1415528" y="803101"/>
                </a:cubicBezTo>
                <a:cubicBezTo>
                  <a:pt x="1429741" y="827143"/>
                  <a:pt x="1422440" y="857761"/>
                  <a:pt x="1399220" y="871489"/>
                </a:cubicBezTo>
                <a:close/>
                <a:moveTo>
                  <a:pt x="1125898" y="1171310"/>
                </a:moveTo>
                <a:cubicBezTo>
                  <a:pt x="1102678" y="1185038"/>
                  <a:pt x="1072332" y="1176677"/>
                  <a:pt x="1058118" y="1152635"/>
                </a:cubicBezTo>
                <a:cubicBezTo>
                  <a:pt x="1043905" y="1128594"/>
                  <a:pt x="1051205" y="1097975"/>
                  <a:pt x="1074426" y="1084247"/>
                </a:cubicBezTo>
                <a:cubicBezTo>
                  <a:pt x="1097646" y="1070519"/>
                  <a:pt x="1127992" y="1078880"/>
                  <a:pt x="1142206" y="1102922"/>
                </a:cubicBezTo>
                <a:cubicBezTo>
                  <a:pt x="1156420" y="1126964"/>
                  <a:pt x="1149119" y="1157582"/>
                  <a:pt x="1125898" y="1171310"/>
                </a:cubicBezTo>
                <a:close/>
              </a:path>
            </a:pathLst>
          </a:custGeom>
          <a:solidFill>
            <a:srgbClr val="FFFFFF"/>
          </a:solidFill>
          <a:ln w="3175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92" name="Group 91"/>
          <p:cNvGrpSpPr/>
          <p:nvPr userDrawn="1"/>
        </p:nvGrpSpPr>
        <p:grpSpPr bwMode="black">
          <a:xfrm>
            <a:off x="340829" y="2579717"/>
            <a:ext cx="296348" cy="318722"/>
            <a:chOff x="1435100" y="3879850"/>
            <a:chExt cx="739775" cy="795338"/>
          </a:xfrm>
          <a:solidFill>
            <a:schemeClr val="tx1"/>
          </a:solidFill>
        </p:grpSpPr>
        <p:sp>
          <p:nvSpPr>
            <p:cNvPr id="93" name="Freeform 6"/>
            <p:cNvSpPr>
              <a:spLocks/>
            </p:cNvSpPr>
            <p:nvPr/>
          </p:nvSpPr>
          <p:spPr bwMode="black">
            <a:xfrm>
              <a:off x="1435100" y="4191000"/>
              <a:ext cx="106363" cy="106363"/>
            </a:xfrm>
            <a:custGeom>
              <a:avLst/>
              <a:gdLst>
                <a:gd name="T0" fmla="*/ 15 w 67"/>
                <a:gd name="T1" fmla="*/ 67 h 67"/>
                <a:gd name="T2" fmla="*/ 15 w 67"/>
                <a:gd name="T3" fmla="*/ 66 h 67"/>
                <a:gd name="T4" fmla="*/ 33 w 67"/>
                <a:gd name="T5" fmla="*/ 48 h 67"/>
                <a:gd name="T6" fmla="*/ 52 w 67"/>
                <a:gd name="T7" fmla="*/ 67 h 67"/>
                <a:gd name="T8" fmla="*/ 67 w 67"/>
                <a:gd name="T9" fmla="*/ 52 h 67"/>
                <a:gd name="T10" fmla="*/ 66 w 67"/>
                <a:gd name="T11" fmla="*/ 51 h 67"/>
                <a:gd name="T12" fmla="*/ 48 w 67"/>
                <a:gd name="T13" fmla="*/ 33 h 67"/>
                <a:gd name="T14" fmla="*/ 67 w 67"/>
                <a:gd name="T15" fmla="*/ 15 h 67"/>
                <a:gd name="T16" fmla="*/ 52 w 67"/>
                <a:gd name="T17" fmla="*/ 0 h 67"/>
                <a:gd name="T18" fmla="*/ 33 w 67"/>
                <a:gd name="T19" fmla="*/ 19 h 67"/>
                <a:gd name="T20" fmla="*/ 15 w 67"/>
                <a:gd name="T21" fmla="*/ 0 h 67"/>
                <a:gd name="T22" fmla="*/ 0 w 67"/>
                <a:gd name="T23" fmla="*/ 15 h 67"/>
                <a:gd name="T24" fmla="*/ 19 w 67"/>
                <a:gd name="T25" fmla="*/ 33 h 67"/>
                <a:gd name="T26" fmla="*/ 0 w 67"/>
                <a:gd name="T27" fmla="*/ 52 h 67"/>
                <a:gd name="T28" fmla="*/ 15 w 67"/>
                <a:gd name="T2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" h="67">
                  <a:moveTo>
                    <a:pt x="15" y="67"/>
                  </a:moveTo>
                  <a:lnTo>
                    <a:pt x="15" y="66"/>
                  </a:lnTo>
                  <a:lnTo>
                    <a:pt x="33" y="48"/>
                  </a:lnTo>
                  <a:lnTo>
                    <a:pt x="52" y="67"/>
                  </a:lnTo>
                  <a:lnTo>
                    <a:pt x="67" y="52"/>
                  </a:lnTo>
                  <a:lnTo>
                    <a:pt x="66" y="51"/>
                  </a:lnTo>
                  <a:lnTo>
                    <a:pt x="48" y="33"/>
                  </a:lnTo>
                  <a:lnTo>
                    <a:pt x="67" y="15"/>
                  </a:lnTo>
                  <a:lnTo>
                    <a:pt x="52" y="0"/>
                  </a:lnTo>
                  <a:lnTo>
                    <a:pt x="33" y="19"/>
                  </a:lnTo>
                  <a:lnTo>
                    <a:pt x="15" y="0"/>
                  </a:lnTo>
                  <a:lnTo>
                    <a:pt x="0" y="15"/>
                  </a:lnTo>
                  <a:lnTo>
                    <a:pt x="19" y="33"/>
                  </a:lnTo>
                  <a:lnTo>
                    <a:pt x="0" y="52"/>
                  </a:lnTo>
                  <a:lnTo>
                    <a:pt x="15" y="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" name="Freeform 7"/>
            <p:cNvSpPr>
              <a:spLocks/>
            </p:cNvSpPr>
            <p:nvPr/>
          </p:nvSpPr>
          <p:spPr bwMode="black">
            <a:xfrm>
              <a:off x="1620838" y="4208463"/>
              <a:ext cx="106363" cy="104775"/>
            </a:xfrm>
            <a:custGeom>
              <a:avLst/>
              <a:gdLst>
                <a:gd name="T0" fmla="*/ 66 w 67"/>
                <a:gd name="T1" fmla="*/ 51 h 66"/>
                <a:gd name="T2" fmla="*/ 48 w 67"/>
                <a:gd name="T3" fmla="*/ 33 h 66"/>
                <a:gd name="T4" fmla="*/ 67 w 67"/>
                <a:gd name="T5" fmla="*/ 14 h 66"/>
                <a:gd name="T6" fmla="*/ 52 w 67"/>
                <a:gd name="T7" fmla="*/ 0 h 66"/>
                <a:gd name="T8" fmla="*/ 33 w 67"/>
                <a:gd name="T9" fmla="*/ 18 h 66"/>
                <a:gd name="T10" fmla="*/ 15 w 67"/>
                <a:gd name="T11" fmla="*/ 0 h 66"/>
                <a:gd name="T12" fmla="*/ 0 w 67"/>
                <a:gd name="T13" fmla="*/ 14 h 66"/>
                <a:gd name="T14" fmla="*/ 19 w 67"/>
                <a:gd name="T15" fmla="*/ 33 h 66"/>
                <a:gd name="T16" fmla="*/ 0 w 67"/>
                <a:gd name="T17" fmla="*/ 51 h 66"/>
                <a:gd name="T18" fmla="*/ 15 w 67"/>
                <a:gd name="T19" fmla="*/ 66 h 66"/>
                <a:gd name="T20" fmla="*/ 15 w 67"/>
                <a:gd name="T21" fmla="*/ 66 h 66"/>
                <a:gd name="T22" fmla="*/ 33 w 67"/>
                <a:gd name="T23" fmla="*/ 48 h 66"/>
                <a:gd name="T24" fmla="*/ 52 w 67"/>
                <a:gd name="T25" fmla="*/ 66 h 66"/>
                <a:gd name="T26" fmla="*/ 67 w 67"/>
                <a:gd name="T27" fmla="*/ 51 h 66"/>
                <a:gd name="T28" fmla="*/ 66 w 67"/>
                <a:gd name="T29" fmla="*/ 5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" h="66">
                  <a:moveTo>
                    <a:pt x="66" y="51"/>
                  </a:moveTo>
                  <a:lnTo>
                    <a:pt x="48" y="33"/>
                  </a:lnTo>
                  <a:lnTo>
                    <a:pt x="67" y="14"/>
                  </a:lnTo>
                  <a:lnTo>
                    <a:pt x="52" y="0"/>
                  </a:lnTo>
                  <a:lnTo>
                    <a:pt x="33" y="18"/>
                  </a:lnTo>
                  <a:lnTo>
                    <a:pt x="15" y="0"/>
                  </a:lnTo>
                  <a:lnTo>
                    <a:pt x="0" y="14"/>
                  </a:lnTo>
                  <a:lnTo>
                    <a:pt x="19" y="33"/>
                  </a:lnTo>
                  <a:lnTo>
                    <a:pt x="0" y="51"/>
                  </a:lnTo>
                  <a:lnTo>
                    <a:pt x="15" y="66"/>
                  </a:lnTo>
                  <a:lnTo>
                    <a:pt x="15" y="66"/>
                  </a:lnTo>
                  <a:lnTo>
                    <a:pt x="33" y="48"/>
                  </a:lnTo>
                  <a:lnTo>
                    <a:pt x="52" y="66"/>
                  </a:lnTo>
                  <a:lnTo>
                    <a:pt x="67" y="51"/>
                  </a:lnTo>
                  <a:lnTo>
                    <a:pt x="66" y="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" name="Freeform 8"/>
            <p:cNvSpPr>
              <a:spLocks/>
            </p:cNvSpPr>
            <p:nvPr/>
          </p:nvSpPr>
          <p:spPr bwMode="black">
            <a:xfrm>
              <a:off x="1876425" y="4184650"/>
              <a:ext cx="104775" cy="104775"/>
            </a:xfrm>
            <a:custGeom>
              <a:avLst/>
              <a:gdLst>
                <a:gd name="T0" fmla="*/ 14 w 66"/>
                <a:gd name="T1" fmla="*/ 66 h 66"/>
                <a:gd name="T2" fmla="*/ 15 w 66"/>
                <a:gd name="T3" fmla="*/ 66 h 66"/>
                <a:gd name="T4" fmla="*/ 33 w 66"/>
                <a:gd name="T5" fmla="*/ 48 h 66"/>
                <a:gd name="T6" fmla="*/ 52 w 66"/>
                <a:gd name="T7" fmla="*/ 66 h 66"/>
                <a:gd name="T8" fmla="*/ 66 w 66"/>
                <a:gd name="T9" fmla="*/ 51 h 66"/>
                <a:gd name="T10" fmla="*/ 66 w 66"/>
                <a:gd name="T11" fmla="*/ 51 h 66"/>
                <a:gd name="T12" fmla="*/ 48 w 66"/>
                <a:gd name="T13" fmla="*/ 33 h 66"/>
                <a:gd name="T14" fmla="*/ 66 w 66"/>
                <a:gd name="T15" fmla="*/ 14 h 66"/>
                <a:gd name="T16" fmla="*/ 52 w 66"/>
                <a:gd name="T17" fmla="*/ 0 h 66"/>
                <a:gd name="T18" fmla="*/ 33 w 66"/>
                <a:gd name="T19" fmla="*/ 18 h 66"/>
                <a:gd name="T20" fmla="*/ 14 w 66"/>
                <a:gd name="T21" fmla="*/ 0 h 66"/>
                <a:gd name="T22" fmla="*/ 0 w 66"/>
                <a:gd name="T23" fmla="*/ 14 h 66"/>
                <a:gd name="T24" fmla="*/ 18 w 66"/>
                <a:gd name="T25" fmla="*/ 33 h 66"/>
                <a:gd name="T26" fmla="*/ 0 w 66"/>
                <a:gd name="T27" fmla="*/ 51 h 66"/>
                <a:gd name="T28" fmla="*/ 14 w 66"/>
                <a:gd name="T2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66">
                  <a:moveTo>
                    <a:pt x="14" y="66"/>
                  </a:moveTo>
                  <a:lnTo>
                    <a:pt x="15" y="66"/>
                  </a:lnTo>
                  <a:lnTo>
                    <a:pt x="33" y="48"/>
                  </a:lnTo>
                  <a:lnTo>
                    <a:pt x="52" y="66"/>
                  </a:lnTo>
                  <a:lnTo>
                    <a:pt x="66" y="51"/>
                  </a:lnTo>
                  <a:lnTo>
                    <a:pt x="66" y="51"/>
                  </a:lnTo>
                  <a:lnTo>
                    <a:pt x="48" y="33"/>
                  </a:lnTo>
                  <a:lnTo>
                    <a:pt x="66" y="14"/>
                  </a:lnTo>
                  <a:lnTo>
                    <a:pt x="52" y="0"/>
                  </a:lnTo>
                  <a:lnTo>
                    <a:pt x="33" y="18"/>
                  </a:lnTo>
                  <a:lnTo>
                    <a:pt x="14" y="0"/>
                  </a:lnTo>
                  <a:lnTo>
                    <a:pt x="0" y="14"/>
                  </a:lnTo>
                  <a:lnTo>
                    <a:pt x="18" y="33"/>
                  </a:lnTo>
                  <a:lnTo>
                    <a:pt x="0" y="51"/>
                  </a:lnTo>
                  <a:lnTo>
                    <a:pt x="14" y="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" name="Freeform 9"/>
            <p:cNvSpPr>
              <a:spLocks/>
            </p:cNvSpPr>
            <p:nvPr/>
          </p:nvSpPr>
          <p:spPr bwMode="black">
            <a:xfrm>
              <a:off x="1498600" y="3879850"/>
              <a:ext cx="336550" cy="795338"/>
            </a:xfrm>
            <a:custGeom>
              <a:avLst/>
              <a:gdLst>
                <a:gd name="T0" fmla="*/ 938 w 1156"/>
                <a:gd name="T1" fmla="*/ 2724 h 2724"/>
                <a:gd name="T2" fmla="*/ 1139 w 1156"/>
                <a:gd name="T3" fmla="*/ 2523 h 2724"/>
                <a:gd name="T4" fmla="*/ 1036 w 1156"/>
                <a:gd name="T5" fmla="*/ 2347 h 2724"/>
                <a:gd name="T6" fmla="*/ 1156 w 1156"/>
                <a:gd name="T7" fmla="*/ 1686 h 2724"/>
                <a:gd name="T8" fmla="*/ 953 w 1156"/>
                <a:gd name="T9" fmla="*/ 884 h 2724"/>
                <a:gd name="T10" fmla="*/ 188 w 1156"/>
                <a:gd name="T11" fmla="*/ 128 h 2724"/>
                <a:gd name="T12" fmla="*/ 327 w 1156"/>
                <a:gd name="T13" fmla="*/ 90 h 2724"/>
                <a:gd name="T14" fmla="*/ 302 w 1156"/>
                <a:gd name="T15" fmla="*/ 0 h 2724"/>
                <a:gd name="T16" fmla="*/ 0 w 1156"/>
                <a:gd name="T17" fmla="*/ 82 h 2724"/>
                <a:gd name="T18" fmla="*/ 83 w 1156"/>
                <a:gd name="T19" fmla="*/ 385 h 2724"/>
                <a:gd name="T20" fmla="*/ 173 w 1156"/>
                <a:gd name="T21" fmla="*/ 360 h 2724"/>
                <a:gd name="T22" fmla="*/ 135 w 1156"/>
                <a:gd name="T23" fmla="*/ 223 h 2724"/>
                <a:gd name="T24" fmla="*/ 858 w 1156"/>
                <a:gd name="T25" fmla="*/ 937 h 2724"/>
                <a:gd name="T26" fmla="*/ 1047 w 1156"/>
                <a:gd name="T27" fmla="*/ 1686 h 2724"/>
                <a:gd name="T28" fmla="*/ 979 w 1156"/>
                <a:gd name="T29" fmla="*/ 2171 h 2724"/>
                <a:gd name="T30" fmla="*/ 933 w 1156"/>
                <a:gd name="T31" fmla="*/ 2312 h 2724"/>
                <a:gd name="T32" fmla="*/ 929 w 1156"/>
                <a:gd name="T33" fmla="*/ 2321 h 2724"/>
                <a:gd name="T34" fmla="*/ 736 w 1156"/>
                <a:gd name="T35" fmla="*/ 2523 h 2724"/>
                <a:gd name="T36" fmla="*/ 938 w 1156"/>
                <a:gd name="T37" fmla="*/ 2724 h 2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56" h="2724">
                  <a:moveTo>
                    <a:pt x="938" y="2724"/>
                  </a:moveTo>
                  <a:cubicBezTo>
                    <a:pt x="1049" y="2724"/>
                    <a:pt x="1139" y="2634"/>
                    <a:pt x="1139" y="2523"/>
                  </a:cubicBezTo>
                  <a:cubicBezTo>
                    <a:pt x="1139" y="2447"/>
                    <a:pt x="1098" y="2382"/>
                    <a:pt x="1036" y="2347"/>
                  </a:cubicBezTo>
                  <a:cubicBezTo>
                    <a:pt x="1078" y="2239"/>
                    <a:pt x="1156" y="1994"/>
                    <a:pt x="1156" y="1686"/>
                  </a:cubicBezTo>
                  <a:cubicBezTo>
                    <a:pt x="1156" y="1444"/>
                    <a:pt x="1108" y="1164"/>
                    <a:pt x="953" y="884"/>
                  </a:cubicBezTo>
                  <a:cubicBezTo>
                    <a:pt x="807" y="619"/>
                    <a:pt x="566" y="356"/>
                    <a:pt x="188" y="128"/>
                  </a:cubicBezTo>
                  <a:cubicBezTo>
                    <a:pt x="327" y="90"/>
                    <a:pt x="327" y="90"/>
                    <a:pt x="327" y="90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83" y="385"/>
                    <a:pt x="83" y="385"/>
                    <a:pt x="83" y="385"/>
                  </a:cubicBezTo>
                  <a:cubicBezTo>
                    <a:pt x="173" y="360"/>
                    <a:pt x="173" y="360"/>
                    <a:pt x="173" y="360"/>
                  </a:cubicBezTo>
                  <a:cubicBezTo>
                    <a:pt x="135" y="223"/>
                    <a:pt x="135" y="223"/>
                    <a:pt x="135" y="223"/>
                  </a:cubicBezTo>
                  <a:cubicBezTo>
                    <a:pt x="497" y="443"/>
                    <a:pt x="721" y="690"/>
                    <a:pt x="858" y="937"/>
                  </a:cubicBezTo>
                  <a:cubicBezTo>
                    <a:pt x="1002" y="1198"/>
                    <a:pt x="1047" y="1459"/>
                    <a:pt x="1047" y="1686"/>
                  </a:cubicBezTo>
                  <a:cubicBezTo>
                    <a:pt x="1047" y="1881"/>
                    <a:pt x="1013" y="2051"/>
                    <a:pt x="979" y="2171"/>
                  </a:cubicBezTo>
                  <a:cubicBezTo>
                    <a:pt x="963" y="2231"/>
                    <a:pt x="946" y="2279"/>
                    <a:pt x="933" y="2312"/>
                  </a:cubicBezTo>
                  <a:cubicBezTo>
                    <a:pt x="932" y="2315"/>
                    <a:pt x="931" y="2318"/>
                    <a:pt x="929" y="2321"/>
                  </a:cubicBezTo>
                  <a:cubicBezTo>
                    <a:pt x="822" y="2326"/>
                    <a:pt x="736" y="2414"/>
                    <a:pt x="736" y="2523"/>
                  </a:cubicBezTo>
                  <a:cubicBezTo>
                    <a:pt x="736" y="2634"/>
                    <a:pt x="826" y="2724"/>
                    <a:pt x="938" y="27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" name="Oval 10"/>
            <p:cNvSpPr>
              <a:spLocks noChangeArrowheads="1"/>
            </p:cNvSpPr>
            <p:nvPr/>
          </p:nvSpPr>
          <p:spPr bwMode="black">
            <a:xfrm>
              <a:off x="1744663" y="4589463"/>
              <a:ext cx="53975" cy="539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" name="Freeform 11"/>
            <p:cNvSpPr>
              <a:spLocks/>
            </p:cNvSpPr>
            <p:nvPr/>
          </p:nvSpPr>
          <p:spPr bwMode="black">
            <a:xfrm>
              <a:off x="1860550" y="4225925"/>
              <a:ext cx="314325" cy="350838"/>
            </a:xfrm>
            <a:custGeom>
              <a:avLst/>
              <a:gdLst>
                <a:gd name="T0" fmla="*/ 695 w 1079"/>
                <a:gd name="T1" fmla="*/ 124 h 1206"/>
                <a:gd name="T2" fmla="*/ 834 w 1079"/>
                <a:gd name="T3" fmla="*/ 90 h 1206"/>
                <a:gd name="T4" fmla="*/ 812 w 1079"/>
                <a:gd name="T5" fmla="*/ 0 h 1206"/>
                <a:gd name="T6" fmla="*/ 507 w 1079"/>
                <a:gd name="T7" fmla="*/ 73 h 1206"/>
                <a:gd name="T8" fmla="*/ 580 w 1079"/>
                <a:gd name="T9" fmla="*/ 378 h 1206"/>
                <a:gd name="T10" fmla="*/ 671 w 1079"/>
                <a:gd name="T11" fmla="*/ 356 h 1206"/>
                <a:gd name="T12" fmla="*/ 638 w 1079"/>
                <a:gd name="T13" fmla="*/ 217 h 1206"/>
                <a:gd name="T14" fmla="*/ 924 w 1079"/>
                <a:gd name="T15" fmla="*/ 392 h 1206"/>
                <a:gd name="T16" fmla="*/ 528 w 1079"/>
                <a:gd name="T17" fmla="*/ 753 h 1206"/>
                <a:gd name="T18" fmla="*/ 362 w 1079"/>
                <a:gd name="T19" fmla="*/ 844 h 1206"/>
                <a:gd name="T20" fmla="*/ 337 w 1079"/>
                <a:gd name="T21" fmla="*/ 856 h 1206"/>
                <a:gd name="T22" fmla="*/ 201 w 1079"/>
                <a:gd name="T23" fmla="*/ 803 h 1206"/>
                <a:gd name="T24" fmla="*/ 0 w 1079"/>
                <a:gd name="T25" fmla="*/ 1005 h 1206"/>
                <a:gd name="T26" fmla="*/ 201 w 1079"/>
                <a:gd name="T27" fmla="*/ 1206 h 1206"/>
                <a:gd name="T28" fmla="*/ 403 w 1079"/>
                <a:gd name="T29" fmla="*/ 1005 h 1206"/>
                <a:gd name="T30" fmla="*/ 395 w 1079"/>
                <a:gd name="T31" fmla="*/ 949 h 1206"/>
                <a:gd name="T32" fmla="*/ 1047 w 1079"/>
                <a:gd name="T33" fmla="*/ 406 h 1206"/>
                <a:gd name="T34" fmla="*/ 1079 w 1079"/>
                <a:gd name="T35" fmla="*/ 359 h 1206"/>
                <a:gd name="T36" fmla="*/ 695 w 1079"/>
                <a:gd name="T37" fmla="*/ 124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9" h="1206">
                  <a:moveTo>
                    <a:pt x="695" y="124"/>
                  </a:moveTo>
                  <a:cubicBezTo>
                    <a:pt x="834" y="90"/>
                    <a:pt x="834" y="90"/>
                    <a:pt x="834" y="9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507" y="73"/>
                    <a:pt x="507" y="73"/>
                    <a:pt x="507" y="73"/>
                  </a:cubicBezTo>
                  <a:cubicBezTo>
                    <a:pt x="580" y="378"/>
                    <a:pt x="580" y="378"/>
                    <a:pt x="580" y="378"/>
                  </a:cubicBezTo>
                  <a:cubicBezTo>
                    <a:pt x="671" y="356"/>
                    <a:pt x="671" y="356"/>
                    <a:pt x="671" y="356"/>
                  </a:cubicBezTo>
                  <a:cubicBezTo>
                    <a:pt x="638" y="217"/>
                    <a:pt x="638" y="217"/>
                    <a:pt x="638" y="217"/>
                  </a:cubicBezTo>
                  <a:cubicBezTo>
                    <a:pt x="924" y="392"/>
                    <a:pt x="924" y="392"/>
                    <a:pt x="924" y="392"/>
                  </a:cubicBezTo>
                  <a:cubicBezTo>
                    <a:pt x="800" y="559"/>
                    <a:pt x="651" y="677"/>
                    <a:pt x="528" y="753"/>
                  </a:cubicBezTo>
                  <a:cubicBezTo>
                    <a:pt x="462" y="795"/>
                    <a:pt x="403" y="825"/>
                    <a:pt x="362" y="844"/>
                  </a:cubicBezTo>
                  <a:cubicBezTo>
                    <a:pt x="353" y="849"/>
                    <a:pt x="344" y="853"/>
                    <a:pt x="337" y="856"/>
                  </a:cubicBezTo>
                  <a:cubicBezTo>
                    <a:pt x="301" y="823"/>
                    <a:pt x="253" y="803"/>
                    <a:pt x="201" y="803"/>
                  </a:cubicBezTo>
                  <a:cubicBezTo>
                    <a:pt x="90" y="803"/>
                    <a:pt x="0" y="894"/>
                    <a:pt x="0" y="1005"/>
                  </a:cubicBezTo>
                  <a:cubicBezTo>
                    <a:pt x="0" y="1116"/>
                    <a:pt x="90" y="1206"/>
                    <a:pt x="201" y="1206"/>
                  </a:cubicBezTo>
                  <a:cubicBezTo>
                    <a:pt x="312" y="1206"/>
                    <a:pt x="403" y="1116"/>
                    <a:pt x="403" y="1005"/>
                  </a:cubicBezTo>
                  <a:cubicBezTo>
                    <a:pt x="403" y="986"/>
                    <a:pt x="400" y="967"/>
                    <a:pt x="395" y="949"/>
                  </a:cubicBezTo>
                  <a:cubicBezTo>
                    <a:pt x="524" y="891"/>
                    <a:pt x="829" y="729"/>
                    <a:pt x="1047" y="406"/>
                  </a:cubicBezTo>
                  <a:cubicBezTo>
                    <a:pt x="1079" y="359"/>
                    <a:pt x="1079" y="359"/>
                    <a:pt x="1079" y="359"/>
                  </a:cubicBezTo>
                  <a:lnTo>
                    <a:pt x="695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" name="Oval 12"/>
            <p:cNvSpPr>
              <a:spLocks noChangeArrowheads="1"/>
            </p:cNvSpPr>
            <p:nvPr/>
          </p:nvSpPr>
          <p:spPr bwMode="black">
            <a:xfrm>
              <a:off x="1892300" y="4491038"/>
              <a:ext cx="53975" cy="539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Freeform 13"/>
            <p:cNvSpPr>
              <a:spLocks/>
            </p:cNvSpPr>
            <p:nvPr/>
          </p:nvSpPr>
          <p:spPr bwMode="black">
            <a:xfrm>
              <a:off x="1447800" y="4306888"/>
              <a:ext cx="215900" cy="322263"/>
            </a:xfrm>
            <a:custGeom>
              <a:avLst/>
              <a:gdLst>
                <a:gd name="T0" fmla="*/ 537 w 738"/>
                <a:gd name="T1" fmla="*/ 706 h 1109"/>
                <a:gd name="T2" fmla="*/ 506 w 738"/>
                <a:gd name="T3" fmla="*/ 708 h 1109"/>
                <a:gd name="T4" fmla="*/ 273 w 738"/>
                <a:gd name="T5" fmla="*/ 155 h 1109"/>
                <a:gd name="T6" fmla="*/ 408 w 738"/>
                <a:gd name="T7" fmla="*/ 101 h 1109"/>
                <a:gd name="T8" fmla="*/ 368 w 738"/>
                <a:gd name="T9" fmla="*/ 0 h 1109"/>
                <a:gd name="T10" fmla="*/ 0 w 738"/>
                <a:gd name="T11" fmla="*/ 147 h 1109"/>
                <a:gd name="T12" fmla="*/ 41 w 738"/>
                <a:gd name="T13" fmla="*/ 248 h 1109"/>
                <a:gd name="T14" fmla="*/ 172 w 738"/>
                <a:gd name="T15" fmla="*/ 195 h 1109"/>
                <a:gd name="T16" fmla="*/ 407 w 738"/>
                <a:gd name="T17" fmla="*/ 753 h 1109"/>
                <a:gd name="T18" fmla="*/ 335 w 738"/>
                <a:gd name="T19" fmla="*/ 908 h 1109"/>
                <a:gd name="T20" fmla="*/ 537 w 738"/>
                <a:gd name="T21" fmla="*/ 1109 h 1109"/>
                <a:gd name="T22" fmla="*/ 738 w 738"/>
                <a:gd name="T23" fmla="*/ 908 h 1109"/>
                <a:gd name="T24" fmla="*/ 537 w 738"/>
                <a:gd name="T25" fmla="*/ 706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8" h="1109">
                  <a:moveTo>
                    <a:pt x="537" y="706"/>
                  </a:moveTo>
                  <a:cubicBezTo>
                    <a:pt x="526" y="706"/>
                    <a:pt x="516" y="707"/>
                    <a:pt x="506" y="708"/>
                  </a:cubicBezTo>
                  <a:cubicBezTo>
                    <a:pt x="273" y="155"/>
                    <a:pt x="273" y="155"/>
                    <a:pt x="273" y="155"/>
                  </a:cubicBezTo>
                  <a:cubicBezTo>
                    <a:pt x="408" y="101"/>
                    <a:pt x="408" y="101"/>
                    <a:pt x="408" y="101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41" y="248"/>
                    <a:pt x="41" y="248"/>
                    <a:pt x="41" y="248"/>
                  </a:cubicBezTo>
                  <a:cubicBezTo>
                    <a:pt x="172" y="195"/>
                    <a:pt x="172" y="195"/>
                    <a:pt x="172" y="195"/>
                  </a:cubicBezTo>
                  <a:cubicBezTo>
                    <a:pt x="407" y="753"/>
                    <a:pt x="407" y="753"/>
                    <a:pt x="407" y="753"/>
                  </a:cubicBezTo>
                  <a:cubicBezTo>
                    <a:pt x="363" y="790"/>
                    <a:pt x="335" y="846"/>
                    <a:pt x="335" y="908"/>
                  </a:cubicBezTo>
                  <a:cubicBezTo>
                    <a:pt x="335" y="1019"/>
                    <a:pt x="425" y="1109"/>
                    <a:pt x="537" y="1109"/>
                  </a:cubicBezTo>
                  <a:cubicBezTo>
                    <a:pt x="648" y="1109"/>
                    <a:pt x="738" y="1019"/>
                    <a:pt x="738" y="908"/>
                  </a:cubicBezTo>
                  <a:cubicBezTo>
                    <a:pt x="738" y="796"/>
                    <a:pt x="648" y="706"/>
                    <a:pt x="537" y="70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Oval 14"/>
            <p:cNvSpPr>
              <a:spLocks noChangeArrowheads="1"/>
            </p:cNvSpPr>
            <p:nvPr/>
          </p:nvSpPr>
          <p:spPr bwMode="black">
            <a:xfrm>
              <a:off x="1577975" y="4543425"/>
              <a:ext cx="53975" cy="539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6" name="Content Placeholder 47"/>
          <p:cNvSpPr>
            <a:spLocks noGrp="1"/>
          </p:cNvSpPr>
          <p:nvPr>
            <p:ph sz="quarter" idx="24" hasCustomPrompt="1"/>
          </p:nvPr>
        </p:nvSpPr>
        <p:spPr>
          <a:xfrm>
            <a:off x="235733" y="2949282"/>
            <a:ext cx="3767638" cy="1382273"/>
          </a:xfrm>
        </p:spPr>
        <p:txBody>
          <a:bodyPr lIns="45720" tIns="45720" rIns="45720"/>
          <a:lstStyle>
            <a:lvl1pPr marL="171381" indent="-171381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lang="en-US" sz="1200" kern="1200" spc="0" baseline="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171381" indent="-171381">
              <a:buFont typeface="Wingdings" panose="05000000000000000000" pitchFamily="2" charset="2"/>
              <a:buChar char="§"/>
              <a:defRPr lang="en-US" sz="1100" kern="1200" spc="-71" baseline="0" dirty="0" smtClean="0">
                <a:solidFill>
                  <a:schemeClr val="accent6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285636" indent="-171381">
              <a:buFont typeface="Wingdings" panose="05000000000000000000" pitchFamily="2" charset="2"/>
              <a:buChar char="§"/>
              <a:defRPr sz="1100"/>
            </a:lvl3pPr>
            <a:lvl4pPr marL="349110" indent="-171381">
              <a:buFont typeface="Wingdings" panose="05000000000000000000" pitchFamily="2" charset="2"/>
              <a:buChar char="§"/>
              <a:defRPr sz="1050"/>
            </a:lvl4pPr>
            <a:lvl5pPr marL="349110" indent="-171381">
              <a:buFont typeface="Wingdings" panose="05000000000000000000" pitchFamily="2" charset="2"/>
              <a:buChar char="§"/>
              <a:defRPr sz="105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Content Placeholder 47"/>
          <p:cNvSpPr>
            <a:spLocks noGrp="1"/>
          </p:cNvSpPr>
          <p:nvPr>
            <p:ph sz="quarter" idx="25" hasCustomPrompt="1"/>
          </p:nvPr>
        </p:nvSpPr>
        <p:spPr>
          <a:xfrm>
            <a:off x="235733" y="5164712"/>
            <a:ext cx="3767638" cy="1382273"/>
          </a:xfrm>
        </p:spPr>
        <p:txBody>
          <a:bodyPr lIns="45720" tIns="45720" rIns="45720"/>
          <a:lstStyle>
            <a:lvl1pPr marL="171381" indent="-171381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lang="en-US" sz="1200" kern="1200" spc="0" baseline="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171381" indent="-171381">
              <a:buFont typeface="Wingdings" panose="05000000000000000000" pitchFamily="2" charset="2"/>
              <a:buChar char="§"/>
              <a:defRPr lang="en-US" sz="1100" kern="1200" spc="-71" baseline="0" dirty="0" smtClean="0">
                <a:solidFill>
                  <a:schemeClr val="accent6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285636" indent="-171381">
              <a:buFont typeface="Wingdings" panose="05000000000000000000" pitchFamily="2" charset="2"/>
              <a:buChar char="§"/>
              <a:defRPr sz="1100"/>
            </a:lvl3pPr>
            <a:lvl4pPr marL="349110" indent="-171381">
              <a:buFont typeface="Wingdings" panose="05000000000000000000" pitchFamily="2" charset="2"/>
              <a:buChar char="§"/>
              <a:defRPr sz="1050"/>
            </a:lvl4pPr>
            <a:lvl5pPr marL="349110" indent="-171381">
              <a:buFont typeface="Wingdings" panose="05000000000000000000" pitchFamily="2" charset="2"/>
              <a:buChar char="§"/>
              <a:defRPr sz="105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9"/>
          </p:nvPr>
        </p:nvSpPr>
        <p:spPr>
          <a:xfrm>
            <a:off x="9100615" y="693145"/>
            <a:ext cx="3043779" cy="955509"/>
          </a:xfrm>
        </p:spPr>
        <p:txBody>
          <a:bodyPr rIns="45720" anchor="ctr"/>
          <a:lstStyle>
            <a:lvl1pPr marL="0" indent="0">
              <a:buFontTx/>
              <a:buNone/>
              <a:defRPr sz="1399" spc="0" baseline="0">
                <a:solidFill>
                  <a:schemeClr val="bg1"/>
                </a:solidFill>
              </a:defRPr>
            </a:lvl1pPr>
            <a:lvl2pPr marL="57127" indent="0">
              <a:buFontTx/>
              <a:buNone/>
              <a:defRPr sz="1200" spc="0" baseline="0">
                <a:solidFill>
                  <a:schemeClr val="bg1"/>
                </a:solidFill>
              </a:defRPr>
            </a:lvl2pPr>
            <a:lvl3pPr marL="111081" indent="0">
              <a:buFontTx/>
              <a:buNone/>
              <a:defRPr sz="1200" spc="0" baseline="0">
                <a:solidFill>
                  <a:schemeClr val="bg1"/>
                </a:solidFill>
              </a:defRPr>
            </a:lvl3pPr>
            <a:lvl4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4pPr>
            <a:lvl5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sz="quarter" idx="30"/>
          </p:nvPr>
        </p:nvSpPr>
        <p:spPr>
          <a:xfrm>
            <a:off x="9100615" y="1768989"/>
            <a:ext cx="3043779" cy="955509"/>
          </a:xfrm>
        </p:spPr>
        <p:txBody>
          <a:bodyPr rIns="45720" anchor="ctr"/>
          <a:lstStyle>
            <a:lvl1pPr marL="0" indent="0">
              <a:buFontTx/>
              <a:buNone/>
              <a:defRPr sz="1399" spc="0" baseline="0">
                <a:solidFill>
                  <a:schemeClr val="bg1"/>
                </a:solidFill>
              </a:defRPr>
            </a:lvl1pPr>
            <a:lvl2pPr marL="57127" indent="0">
              <a:buFontTx/>
              <a:buNone/>
              <a:defRPr sz="1200" spc="0" baseline="0">
                <a:solidFill>
                  <a:schemeClr val="bg1"/>
                </a:solidFill>
              </a:defRPr>
            </a:lvl2pPr>
            <a:lvl3pPr marL="111081" indent="0">
              <a:buFontTx/>
              <a:buNone/>
              <a:defRPr sz="1200" spc="0" baseline="0">
                <a:solidFill>
                  <a:schemeClr val="bg1"/>
                </a:solidFill>
              </a:defRPr>
            </a:lvl3pPr>
            <a:lvl4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4pPr>
            <a:lvl5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9100615" y="2844447"/>
            <a:ext cx="3043779" cy="955509"/>
          </a:xfrm>
        </p:spPr>
        <p:txBody>
          <a:bodyPr rIns="45720" anchor="ctr"/>
          <a:lstStyle>
            <a:lvl1pPr marL="0" indent="0">
              <a:buFontTx/>
              <a:buNone/>
              <a:defRPr sz="1399" spc="0" baseline="0">
                <a:solidFill>
                  <a:schemeClr val="bg1"/>
                </a:solidFill>
              </a:defRPr>
            </a:lvl1pPr>
            <a:lvl2pPr marL="57127" indent="0">
              <a:buFontTx/>
              <a:buNone/>
              <a:defRPr sz="1200" spc="0" baseline="0">
                <a:solidFill>
                  <a:schemeClr val="bg1"/>
                </a:solidFill>
              </a:defRPr>
            </a:lvl2pPr>
            <a:lvl3pPr marL="111081" indent="0">
              <a:buFontTx/>
              <a:buNone/>
              <a:defRPr sz="1200" spc="0" baseline="0">
                <a:solidFill>
                  <a:schemeClr val="bg1"/>
                </a:solidFill>
              </a:defRPr>
            </a:lvl3pPr>
            <a:lvl4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4pPr>
            <a:lvl5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097233" y="3963679"/>
            <a:ext cx="1869512" cy="355306"/>
            <a:chOff x="7908758" y="5507034"/>
            <a:chExt cx="1870242" cy="355224"/>
          </a:xfrm>
        </p:grpSpPr>
        <p:sp>
          <p:nvSpPr>
            <p:cNvPr id="45" name="Rectangle 44"/>
            <p:cNvSpPr/>
            <p:nvPr userDrawn="1"/>
          </p:nvSpPr>
          <p:spPr bwMode="auto">
            <a:xfrm>
              <a:off x="7908758" y="5507034"/>
              <a:ext cx="1870242" cy="35522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99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Knowledge</a:t>
              </a:r>
            </a:p>
          </p:txBody>
        </p:sp>
        <p:pic>
          <p:nvPicPr>
            <p:cNvPr id="46" name="Picture 30" descr="service-based.png"/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08558" y="5547486"/>
              <a:ext cx="264616" cy="27432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3" name="Group 12"/>
          <p:cNvGrpSpPr/>
          <p:nvPr userDrawn="1"/>
        </p:nvGrpSpPr>
        <p:grpSpPr>
          <a:xfrm>
            <a:off x="7943754" y="3963679"/>
            <a:ext cx="1869512" cy="355306"/>
            <a:chOff x="7908758" y="3784961"/>
            <a:chExt cx="1870242" cy="355224"/>
          </a:xfrm>
        </p:grpSpPr>
        <p:sp>
          <p:nvSpPr>
            <p:cNvPr id="24" name="Rectangle 23"/>
            <p:cNvSpPr/>
            <p:nvPr userDrawn="1"/>
          </p:nvSpPr>
          <p:spPr bwMode="auto">
            <a:xfrm>
              <a:off x="7908758" y="3784961"/>
              <a:ext cx="1870242" cy="35522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99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Skills</a:t>
              </a:r>
            </a:p>
          </p:txBody>
        </p:sp>
        <p:sp>
          <p:nvSpPr>
            <p:cNvPr id="47" name="Freeform 43"/>
            <p:cNvSpPr>
              <a:spLocks noChangeAspect="1" noEditPoints="1"/>
            </p:cNvSpPr>
            <p:nvPr userDrawn="1"/>
          </p:nvSpPr>
          <p:spPr bwMode="black">
            <a:xfrm>
              <a:off x="8032537" y="3838645"/>
              <a:ext cx="265176" cy="247856"/>
            </a:xfrm>
            <a:custGeom>
              <a:avLst/>
              <a:gdLst>
                <a:gd name="T0" fmla="*/ 106 w 800"/>
                <a:gd name="T1" fmla="*/ 178 h 748"/>
                <a:gd name="T2" fmla="*/ 204 w 800"/>
                <a:gd name="T3" fmla="*/ 88 h 748"/>
                <a:gd name="T4" fmla="*/ 495 w 800"/>
                <a:gd name="T5" fmla="*/ 588 h 748"/>
                <a:gd name="T6" fmla="*/ 398 w 800"/>
                <a:gd name="T7" fmla="*/ 677 h 748"/>
                <a:gd name="T8" fmla="*/ 148 w 800"/>
                <a:gd name="T9" fmla="*/ 300 h 748"/>
                <a:gd name="T10" fmla="*/ 84 w 800"/>
                <a:gd name="T11" fmla="*/ 138 h 748"/>
                <a:gd name="T12" fmla="*/ 49 w 800"/>
                <a:gd name="T13" fmla="*/ 220 h 748"/>
                <a:gd name="T14" fmla="*/ 0 w 800"/>
                <a:gd name="T15" fmla="*/ 499 h 748"/>
                <a:gd name="T16" fmla="*/ 148 w 800"/>
                <a:gd name="T17" fmla="*/ 300 h 748"/>
                <a:gd name="T18" fmla="*/ 263 w 800"/>
                <a:gd name="T19" fmla="*/ 719 h 748"/>
                <a:gd name="T20" fmla="*/ 257 w 800"/>
                <a:gd name="T21" fmla="*/ 657 h 748"/>
                <a:gd name="T22" fmla="*/ 169 w 800"/>
                <a:gd name="T23" fmla="*/ 732 h 748"/>
                <a:gd name="T24" fmla="*/ 229 w 800"/>
                <a:gd name="T25" fmla="*/ 661 h 748"/>
                <a:gd name="T26" fmla="*/ 169 w 800"/>
                <a:gd name="T27" fmla="*/ 732 h 748"/>
                <a:gd name="T28" fmla="*/ 144 w 800"/>
                <a:gd name="T29" fmla="*/ 735 h 748"/>
                <a:gd name="T30" fmla="*/ 138 w 800"/>
                <a:gd name="T31" fmla="*/ 674 h 748"/>
                <a:gd name="T32" fmla="*/ 51 w 800"/>
                <a:gd name="T33" fmla="*/ 748 h 748"/>
                <a:gd name="T34" fmla="*/ 111 w 800"/>
                <a:gd name="T35" fmla="*/ 678 h 748"/>
                <a:gd name="T36" fmla="*/ 51 w 800"/>
                <a:gd name="T37" fmla="*/ 748 h 748"/>
                <a:gd name="T38" fmla="*/ 28 w 800"/>
                <a:gd name="T39" fmla="*/ 716 h 748"/>
                <a:gd name="T40" fmla="*/ 47 w 800"/>
                <a:gd name="T41" fmla="*/ 741 h 748"/>
                <a:gd name="T42" fmla="*/ 351 w 800"/>
                <a:gd name="T43" fmla="*/ 696 h 748"/>
                <a:gd name="T44" fmla="*/ 328 w 800"/>
                <a:gd name="T45" fmla="*/ 659 h 748"/>
                <a:gd name="T46" fmla="*/ 277 w 800"/>
                <a:gd name="T47" fmla="*/ 706 h 748"/>
                <a:gd name="T48" fmla="*/ 457 w 800"/>
                <a:gd name="T49" fmla="*/ 471 h 748"/>
                <a:gd name="T50" fmla="*/ 505 w 800"/>
                <a:gd name="T51" fmla="*/ 567 h 748"/>
                <a:gd name="T52" fmla="*/ 509 w 800"/>
                <a:gd name="T53" fmla="*/ 568 h 748"/>
                <a:gd name="T54" fmla="*/ 516 w 800"/>
                <a:gd name="T55" fmla="*/ 556 h 748"/>
                <a:gd name="T56" fmla="*/ 667 w 800"/>
                <a:gd name="T57" fmla="*/ 326 h 748"/>
                <a:gd name="T58" fmla="*/ 794 w 800"/>
                <a:gd name="T59" fmla="*/ 166 h 748"/>
                <a:gd name="T60" fmla="*/ 715 w 800"/>
                <a:gd name="T61" fmla="*/ 260 h 748"/>
                <a:gd name="T62" fmla="*/ 775 w 800"/>
                <a:gd name="T63" fmla="*/ 124 h 748"/>
                <a:gd name="T64" fmla="*/ 682 w 800"/>
                <a:gd name="T65" fmla="*/ 241 h 748"/>
                <a:gd name="T66" fmla="*/ 742 w 800"/>
                <a:gd name="T67" fmla="*/ 104 h 748"/>
                <a:gd name="T68" fmla="*/ 650 w 800"/>
                <a:gd name="T69" fmla="*/ 221 h 748"/>
                <a:gd name="T70" fmla="*/ 709 w 800"/>
                <a:gd name="T71" fmla="*/ 85 h 748"/>
                <a:gd name="T72" fmla="*/ 589 w 800"/>
                <a:gd name="T73" fmla="*/ 248 h 748"/>
                <a:gd name="T74" fmla="*/ 615 w 800"/>
                <a:gd name="T75" fmla="*/ 294 h 748"/>
                <a:gd name="T76" fmla="*/ 520 w 800"/>
                <a:gd name="T77" fmla="*/ 247 h 748"/>
                <a:gd name="T78" fmla="*/ 490 w 800"/>
                <a:gd name="T79" fmla="*/ 1 h 748"/>
                <a:gd name="T80" fmla="*/ 460 w 800"/>
                <a:gd name="T81" fmla="*/ 249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00" h="748">
                  <a:moveTo>
                    <a:pt x="350" y="661"/>
                  </a:moveTo>
                  <a:cubicBezTo>
                    <a:pt x="106" y="178"/>
                    <a:pt x="106" y="178"/>
                    <a:pt x="106" y="178"/>
                  </a:cubicBezTo>
                  <a:cubicBezTo>
                    <a:pt x="98" y="160"/>
                    <a:pt x="105" y="138"/>
                    <a:pt x="122" y="130"/>
                  </a:cubicBezTo>
                  <a:cubicBezTo>
                    <a:pt x="204" y="88"/>
                    <a:pt x="204" y="88"/>
                    <a:pt x="204" y="88"/>
                  </a:cubicBezTo>
                  <a:cubicBezTo>
                    <a:pt x="222" y="80"/>
                    <a:pt x="244" y="87"/>
                    <a:pt x="252" y="104"/>
                  </a:cubicBezTo>
                  <a:cubicBezTo>
                    <a:pt x="495" y="588"/>
                    <a:pt x="495" y="588"/>
                    <a:pt x="495" y="588"/>
                  </a:cubicBezTo>
                  <a:cubicBezTo>
                    <a:pt x="504" y="605"/>
                    <a:pt x="497" y="627"/>
                    <a:pt x="479" y="636"/>
                  </a:cubicBezTo>
                  <a:cubicBezTo>
                    <a:pt x="398" y="677"/>
                    <a:pt x="398" y="677"/>
                    <a:pt x="398" y="677"/>
                  </a:cubicBezTo>
                  <a:cubicBezTo>
                    <a:pt x="380" y="686"/>
                    <a:pt x="358" y="679"/>
                    <a:pt x="350" y="661"/>
                  </a:cubicBezTo>
                  <a:close/>
                  <a:moveTo>
                    <a:pt x="148" y="300"/>
                  </a:moveTo>
                  <a:cubicBezTo>
                    <a:pt x="83" y="171"/>
                    <a:pt x="83" y="171"/>
                    <a:pt x="83" y="171"/>
                  </a:cubicBezTo>
                  <a:cubicBezTo>
                    <a:pt x="78" y="161"/>
                    <a:pt x="79" y="148"/>
                    <a:pt x="84" y="138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49" y="220"/>
                    <a:pt x="49" y="220"/>
                    <a:pt x="49" y="220"/>
                  </a:cubicBezTo>
                  <a:cubicBezTo>
                    <a:pt x="63" y="223"/>
                    <a:pt x="63" y="223"/>
                    <a:pt x="63" y="223"/>
                  </a:cubicBezTo>
                  <a:cubicBezTo>
                    <a:pt x="49" y="325"/>
                    <a:pt x="0" y="388"/>
                    <a:pt x="0" y="499"/>
                  </a:cubicBezTo>
                  <a:cubicBezTo>
                    <a:pt x="18" y="529"/>
                    <a:pt x="26" y="622"/>
                    <a:pt x="14" y="672"/>
                  </a:cubicBezTo>
                  <a:cubicBezTo>
                    <a:pt x="85" y="555"/>
                    <a:pt x="129" y="431"/>
                    <a:pt x="148" y="300"/>
                  </a:cubicBezTo>
                  <a:close/>
                  <a:moveTo>
                    <a:pt x="230" y="723"/>
                  </a:moveTo>
                  <a:cubicBezTo>
                    <a:pt x="263" y="719"/>
                    <a:pt x="263" y="719"/>
                    <a:pt x="263" y="719"/>
                  </a:cubicBezTo>
                  <a:cubicBezTo>
                    <a:pt x="290" y="653"/>
                    <a:pt x="290" y="653"/>
                    <a:pt x="290" y="653"/>
                  </a:cubicBezTo>
                  <a:cubicBezTo>
                    <a:pt x="257" y="657"/>
                    <a:pt x="257" y="657"/>
                    <a:pt x="257" y="657"/>
                  </a:cubicBezTo>
                  <a:cubicBezTo>
                    <a:pt x="230" y="723"/>
                    <a:pt x="230" y="723"/>
                    <a:pt x="230" y="723"/>
                  </a:cubicBezTo>
                  <a:close/>
                  <a:moveTo>
                    <a:pt x="169" y="732"/>
                  </a:moveTo>
                  <a:cubicBezTo>
                    <a:pt x="202" y="727"/>
                    <a:pt x="202" y="727"/>
                    <a:pt x="202" y="727"/>
                  </a:cubicBezTo>
                  <a:cubicBezTo>
                    <a:pt x="229" y="661"/>
                    <a:pt x="229" y="661"/>
                    <a:pt x="229" y="661"/>
                  </a:cubicBezTo>
                  <a:cubicBezTo>
                    <a:pt x="196" y="666"/>
                    <a:pt x="196" y="666"/>
                    <a:pt x="196" y="666"/>
                  </a:cubicBezTo>
                  <a:cubicBezTo>
                    <a:pt x="169" y="732"/>
                    <a:pt x="169" y="732"/>
                    <a:pt x="169" y="732"/>
                  </a:cubicBezTo>
                  <a:close/>
                  <a:moveTo>
                    <a:pt x="111" y="740"/>
                  </a:moveTo>
                  <a:cubicBezTo>
                    <a:pt x="144" y="735"/>
                    <a:pt x="144" y="735"/>
                    <a:pt x="144" y="735"/>
                  </a:cubicBezTo>
                  <a:cubicBezTo>
                    <a:pt x="171" y="669"/>
                    <a:pt x="171" y="669"/>
                    <a:pt x="171" y="669"/>
                  </a:cubicBezTo>
                  <a:cubicBezTo>
                    <a:pt x="138" y="674"/>
                    <a:pt x="138" y="674"/>
                    <a:pt x="138" y="674"/>
                  </a:cubicBezTo>
                  <a:cubicBezTo>
                    <a:pt x="111" y="740"/>
                    <a:pt x="111" y="740"/>
                    <a:pt x="111" y="740"/>
                  </a:cubicBezTo>
                  <a:close/>
                  <a:moveTo>
                    <a:pt x="51" y="748"/>
                  </a:moveTo>
                  <a:cubicBezTo>
                    <a:pt x="84" y="744"/>
                    <a:pt x="84" y="744"/>
                    <a:pt x="84" y="744"/>
                  </a:cubicBezTo>
                  <a:cubicBezTo>
                    <a:pt x="111" y="678"/>
                    <a:pt x="111" y="678"/>
                    <a:pt x="111" y="678"/>
                  </a:cubicBezTo>
                  <a:cubicBezTo>
                    <a:pt x="78" y="682"/>
                    <a:pt x="78" y="682"/>
                    <a:pt x="78" y="682"/>
                  </a:cubicBezTo>
                  <a:cubicBezTo>
                    <a:pt x="51" y="748"/>
                    <a:pt x="51" y="748"/>
                    <a:pt x="51" y="748"/>
                  </a:cubicBezTo>
                  <a:close/>
                  <a:moveTo>
                    <a:pt x="47" y="741"/>
                  </a:moveTo>
                  <a:cubicBezTo>
                    <a:pt x="28" y="716"/>
                    <a:pt x="28" y="716"/>
                    <a:pt x="28" y="716"/>
                  </a:cubicBezTo>
                  <a:cubicBezTo>
                    <a:pt x="60" y="711"/>
                    <a:pt x="60" y="711"/>
                    <a:pt x="60" y="711"/>
                  </a:cubicBezTo>
                  <a:cubicBezTo>
                    <a:pt x="47" y="741"/>
                    <a:pt x="47" y="741"/>
                    <a:pt x="47" y="741"/>
                  </a:cubicBezTo>
                  <a:close/>
                  <a:moveTo>
                    <a:pt x="277" y="706"/>
                  </a:moveTo>
                  <a:cubicBezTo>
                    <a:pt x="351" y="696"/>
                    <a:pt x="351" y="696"/>
                    <a:pt x="351" y="696"/>
                  </a:cubicBezTo>
                  <a:cubicBezTo>
                    <a:pt x="347" y="693"/>
                    <a:pt x="343" y="689"/>
                    <a:pt x="341" y="684"/>
                  </a:cubicBezTo>
                  <a:cubicBezTo>
                    <a:pt x="328" y="659"/>
                    <a:pt x="328" y="659"/>
                    <a:pt x="328" y="659"/>
                  </a:cubicBezTo>
                  <a:cubicBezTo>
                    <a:pt x="295" y="664"/>
                    <a:pt x="295" y="664"/>
                    <a:pt x="295" y="664"/>
                  </a:cubicBezTo>
                  <a:cubicBezTo>
                    <a:pt x="277" y="706"/>
                    <a:pt x="277" y="706"/>
                    <a:pt x="277" y="706"/>
                  </a:cubicBezTo>
                  <a:close/>
                  <a:moveTo>
                    <a:pt x="460" y="249"/>
                  </a:moveTo>
                  <a:cubicBezTo>
                    <a:pt x="457" y="471"/>
                    <a:pt x="457" y="471"/>
                    <a:pt x="457" y="471"/>
                  </a:cubicBezTo>
                  <a:cubicBezTo>
                    <a:pt x="481" y="518"/>
                    <a:pt x="481" y="518"/>
                    <a:pt x="481" y="518"/>
                  </a:cubicBezTo>
                  <a:cubicBezTo>
                    <a:pt x="505" y="567"/>
                    <a:pt x="505" y="567"/>
                    <a:pt x="505" y="567"/>
                  </a:cubicBezTo>
                  <a:cubicBezTo>
                    <a:pt x="507" y="571"/>
                    <a:pt x="507" y="571"/>
                    <a:pt x="507" y="571"/>
                  </a:cubicBezTo>
                  <a:cubicBezTo>
                    <a:pt x="509" y="568"/>
                    <a:pt x="509" y="568"/>
                    <a:pt x="509" y="568"/>
                  </a:cubicBezTo>
                  <a:cubicBezTo>
                    <a:pt x="516" y="568"/>
                    <a:pt x="516" y="568"/>
                    <a:pt x="516" y="568"/>
                  </a:cubicBezTo>
                  <a:cubicBezTo>
                    <a:pt x="516" y="556"/>
                    <a:pt x="516" y="556"/>
                    <a:pt x="516" y="556"/>
                  </a:cubicBezTo>
                  <a:cubicBezTo>
                    <a:pt x="658" y="320"/>
                    <a:pt x="658" y="320"/>
                    <a:pt x="658" y="320"/>
                  </a:cubicBezTo>
                  <a:cubicBezTo>
                    <a:pt x="667" y="326"/>
                    <a:pt x="667" y="326"/>
                    <a:pt x="667" y="326"/>
                  </a:cubicBezTo>
                  <a:cubicBezTo>
                    <a:pt x="680" y="333"/>
                    <a:pt x="696" y="329"/>
                    <a:pt x="703" y="317"/>
                  </a:cubicBezTo>
                  <a:cubicBezTo>
                    <a:pt x="794" y="166"/>
                    <a:pt x="794" y="166"/>
                    <a:pt x="794" y="166"/>
                  </a:cubicBezTo>
                  <a:cubicBezTo>
                    <a:pt x="800" y="156"/>
                    <a:pt x="798" y="143"/>
                    <a:pt x="790" y="134"/>
                  </a:cubicBezTo>
                  <a:cubicBezTo>
                    <a:pt x="715" y="260"/>
                    <a:pt x="715" y="260"/>
                    <a:pt x="715" y="260"/>
                  </a:cubicBezTo>
                  <a:cubicBezTo>
                    <a:pt x="699" y="250"/>
                    <a:pt x="699" y="250"/>
                    <a:pt x="699" y="250"/>
                  </a:cubicBezTo>
                  <a:cubicBezTo>
                    <a:pt x="775" y="124"/>
                    <a:pt x="775" y="124"/>
                    <a:pt x="775" y="124"/>
                  </a:cubicBezTo>
                  <a:cubicBezTo>
                    <a:pt x="758" y="114"/>
                    <a:pt x="758" y="114"/>
                    <a:pt x="758" y="114"/>
                  </a:cubicBezTo>
                  <a:cubicBezTo>
                    <a:pt x="682" y="241"/>
                    <a:pt x="682" y="241"/>
                    <a:pt x="682" y="241"/>
                  </a:cubicBezTo>
                  <a:cubicBezTo>
                    <a:pt x="666" y="231"/>
                    <a:pt x="666" y="231"/>
                    <a:pt x="666" y="231"/>
                  </a:cubicBezTo>
                  <a:cubicBezTo>
                    <a:pt x="742" y="104"/>
                    <a:pt x="742" y="104"/>
                    <a:pt x="742" y="104"/>
                  </a:cubicBezTo>
                  <a:cubicBezTo>
                    <a:pt x="725" y="94"/>
                    <a:pt x="725" y="94"/>
                    <a:pt x="725" y="94"/>
                  </a:cubicBezTo>
                  <a:cubicBezTo>
                    <a:pt x="650" y="221"/>
                    <a:pt x="650" y="221"/>
                    <a:pt x="650" y="221"/>
                  </a:cubicBezTo>
                  <a:cubicBezTo>
                    <a:pt x="633" y="211"/>
                    <a:pt x="633" y="211"/>
                    <a:pt x="633" y="211"/>
                  </a:cubicBezTo>
                  <a:cubicBezTo>
                    <a:pt x="709" y="85"/>
                    <a:pt x="709" y="85"/>
                    <a:pt x="709" y="85"/>
                  </a:cubicBezTo>
                  <a:cubicBezTo>
                    <a:pt x="697" y="82"/>
                    <a:pt x="685" y="87"/>
                    <a:pt x="679" y="97"/>
                  </a:cubicBezTo>
                  <a:cubicBezTo>
                    <a:pt x="589" y="248"/>
                    <a:pt x="589" y="248"/>
                    <a:pt x="589" y="248"/>
                  </a:cubicBezTo>
                  <a:cubicBezTo>
                    <a:pt x="581" y="261"/>
                    <a:pt x="585" y="277"/>
                    <a:pt x="598" y="284"/>
                  </a:cubicBezTo>
                  <a:cubicBezTo>
                    <a:pt x="615" y="294"/>
                    <a:pt x="615" y="294"/>
                    <a:pt x="615" y="294"/>
                  </a:cubicBezTo>
                  <a:cubicBezTo>
                    <a:pt x="518" y="456"/>
                    <a:pt x="518" y="456"/>
                    <a:pt x="518" y="456"/>
                  </a:cubicBezTo>
                  <a:cubicBezTo>
                    <a:pt x="520" y="247"/>
                    <a:pt x="520" y="247"/>
                    <a:pt x="520" y="247"/>
                  </a:cubicBezTo>
                  <a:cubicBezTo>
                    <a:pt x="556" y="229"/>
                    <a:pt x="582" y="183"/>
                    <a:pt x="583" y="129"/>
                  </a:cubicBezTo>
                  <a:cubicBezTo>
                    <a:pt x="584" y="59"/>
                    <a:pt x="542" y="2"/>
                    <a:pt x="490" y="1"/>
                  </a:cubicBezTo>
                  <a:cubicBezTo>
                    <a:pt x="437" y="0"/>
                    <a:pt x="394" y="57"/>
                    <a:pt x="393" y="127"/>
                  </a:cubicBezTo>
                  <a:cubicBezTo>
                    <a:pt x="392" y="184"/>
                    <a:pt x="420" y="233"/>
                    <a:pt x="460" y="2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0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8042095" y="4386040"/>
            <a:ext cx="1885426" cy="1377770"/>
          </a:xfrm>
        </p:spPr>
        <p:txBody>
          <a:bodyPr/>
          <a:lstStyle>
            <a:lvl1pPr marL="177729" indent="-177729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ü"/>
              <a:defRPr sz="1050" spc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33"/>
          </p:nvPr>
        </p:nvSpPr>
        <p:spPr>
          <a:xfrm>
            <a:off x="10196995" y="4386040"/>
            <a:ext cx="1885426" cy="1377770"/>
          </a:xfrm>
        </p:spPr>
        <p:txBody>
          <a:bodyPr/>
          <a:lstStyle>
            <a:lvl1pPr marL="177729" indent="-177729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ü"/>
              <a:defRPr sz="1050" spc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9" name="Text Placeholder 9"/>
          <p:cNvSpPr>
            <a:spLocks noGrp="1"/>
          </p:cNvSpPr>
          <p:nvPr userDrawn="1">
            <p:ph type="body" sz="quarter" idx="34"/>
          </p:nvPr>
        </p:nvSpPr>
        <p:spPr>
          <a:xfrm>
            <a:off x="4700716" y="878683"/>
            <a:ext cx="2941879" cy="1083720"/>
          </a:xfrm>
        </p:spPr>
        <p:txBody>
          <a:bodyPr/>
          <a:lstStyle>
            <a:lvl1pPr marL="177729" indent="-177729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ü"/>
              <a:defRPr sz="1000" spc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1" name="Text Placeholder 9"/>
          <p:cNvSpPr>
            <a:spLocks noGrp="1"/>
          </p:cNvSpPr>
          <p:nvPr userDrawn="1">
            <p:ph type="body" sz="quarter" idx="35"/>
          </p:nvPr>
        </p:nvSpPr>
        <p:spPr>
          <a:xfrm>
            <a:off x="4700716" y="2362410"/>
            <a:ext cx="2941879" cy="929547"/>
          </a:xfrm>
        </p:spPr>
        <p:txBody>
          <a:bodyPr/>
          <a:lstStyle>
            <a:lvl1pPr marL="177729" indent="-177729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ü"/>
              <a:defRPr sz="1000" spc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9"/>
          <p:cNvSpPr>
            <a:spLocks noGrp="1"/>
          </p:cNvSpPr>
          <p:nvPr userDrawn="1">
            <p:ph type="body" sz="quarter" idx="36"/>
          </p:nvPr>
        </p:nvSpPr>
        <p:spPr>
          <a:xfrm>
            <a:off x="4700716" y="3677611"/>
            <a:ext cx="2941879" cy="785397"/>
          </a:xfrm>
        </p:spPr>
        <p:txBody>
          <a:bodyPr/>
          <a:lstStyle>
            <a:lvl1pPr marL="177729" marR="0" indent="-177729" algn="l" defTabSz="912657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ü"/>
              <a:tabLst/>
              <a:defRPr sz="1000" spc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2" name="Text Placeholder 9"/>
          <p:cNvSpPr>
            <a:spLocks noGrp="1"/>
          </p:cNvSpPr>
          <p:nvPr userDrawn="1">
            <p:ph type="body" sz="quarter" idx="37"/>
          </p:nvPr>
        </p:nvSpPr>
        <p:spPr>
          <a:xfrm>
            <a:off x="4700716" y="4860880"/>
            <a:ext cx="2941879" cy="1083720"/>
          </a:xfrm>
        </p:spPr>
        <p:txBody>
          <a:bodyPr/>
          <a:lstStyle>
            <a:lvl1pPr marL="177729" indent="-177729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ü"/>
              <a:defRPr sz="1000" spc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4589646" y="3294079"/>
            <a:ext cx="3040219" cy="355306"/>
            <a:chOff x="4591439" y="3361047"/>
            <a:chExt cx="3041407" cy="355224"/>
          </a:xfrm>
        </p:grpSpPr>
        <p:sp>
          <p:nvSpPr>
            <p:cNvPr id="103" name="Freeform 64"/>
            <p:cNvSpPr>
              <a:spLocks noChangeAspect="1" noEditPoints="1"/>
            </p:cNvSpPr>
            <p:nvPr userDrawn="1"/>
          </p:nvSpPr>
          <p:spPr bwMode="black">
            <a:xfrm>
              <a:off x="4654201" y="3389823"/>
              <a:ext cx="310896" cy="238768"/>
            </a:xfrm>
            <a:custGeom>
              <a:avLst/>
              <a:gdLst>
                <a:gd name="T0" fmla="*/ 12 w 221"/>
                <a:gd name="T1" fmla="*/ 104 h 170"/>
                <a:gd name="T2" fmla="*/ 6 w 221"/>
                <a:gd name="T3" fmla="*/ 103 h 170"/>
                <a:gd name="T4" fmla="*/ 2 w 221"/>
                <a:gd name="T5" fmla="*/ 108 h 170"/>
                <a:gd name="T6" fmla="*/ 10 w 221"/>
                <a:gd name="T7" fmla="*/ 141 h 170"/>
                <a:gd name="T8" fmla="*/ 16 w 221"/>
                <a:gd name="T9" fmla="*/ 143 h 170"/>
                <a:gd name="T10" fmla="*/ 21 w 221"/>
                <a:gd name="T11" fmla="*/ 139 h 170"/>
                <a:gd name="T12" fmla="*/ 12 w 221"/>
                <a:gd name="T13" fmla="*/ 104 h 170"/>
                <a:gd name="T14" fmla="*/ 185 w 221"/>
                <a:gd name="T15" fmla="*/ 8 h 170"/>
                <a:gd name="T16" fmla="*/ 219 w 221"/>
                <a:gd name="T17" fmla="*/ 136 h 170"/>
                <a:gd name="T18" fmla="*/ 209 w 221"/>
                <a:gd name="T19" fmla="*/ 139 h 170"/>
                <a:gd name="T20" fmla="*/ 175 w 221"/>
                <a:gd name="T21" fmla="*/ 10 h 170"/>
                <a:gd name="T22" fmla="*/ 185 w 221"/>
                <a:gd name="T23" fmla="*/ 8 h 170"/>
                <a:gd name="T24" fmla="*/ 104 w 221"/>
                <a:gd name="T25" fmla="*/ 170 h 170"/>
                <a:gd name="T26" fmla="*/ 85 w 221"/>
                <a:gd name="T27" fmla="*/ 170 h 170"/>
                <a:gd name="T28" fmla="*/ 63 w 221"/>
                <a:gd name="T29" fmla="*/ 143 h 170"/>
                <a:gd name="T30" fmla="*/ 73 w 221"/>
                <a:gd name="T31" fmla="*/ 143 h 170"/>
                <a:gd name="T32" fmla="*/ 85 w 221"/>
                <a:gd name="T33" fmla="*/ 157 h 170"/>
                <a:gd name="T34" fmla="*/ 104 w 221"/>
                <a:gd name="T35" fmla="*/ 157 h 170"/>
                <a:gd name="T36" fmla="*/ 116 w 221"/>
                <a:gd name="T37" fmla="*/ 143 h 170"/>
                <a:gd name="T38" fmla="*/ 128 w 221"/>
                <a:gd name="T39" fmla="*/ 143 h 170"/>
                <a:gd name="T40" fmla="*/ 104 w 221"/>
                <a:gd name="T41" fmla="*/ 170 h 170"/>
                <a:gd name="T42" fmla="*/ 18 w 221"/>
                <a:gd name="T43" fmla="*/ 102 h 170"/>
                <a:gd name="T44" fmla="*/ 168 w 221"/>
                <a:gd name="T45" fmla="*/ 16 h 170"/>
                <a:gd name="T46" fmla="*/ 172 w 221"/>
                <a:gd name="T47" fmla="*/ 30 h 170"/>
                <a:gd name="T48" fmla="*/ 20 w 221"/>
                <a:gd name="T49" fmla="*/ 109 h 170"/>
                <a:gd name="T50" fmla="*/ 18 w 221"/>
                <a:gd name="T51" fmla="*/ 102 h 170"/>
                <a:gd name="T52" fmla="*/ 185 w 221"/>
                <a:gd name="T53" fmla="*/ 79 h 170"/>
                <a:gd name="T54" fmla="*/ 201 w 221"/>
                <a:gd name="T55" fmla="*/ 137 h 170"/>
                <a:gd name="T56" fmla="*/ 28 w 221"/>
                <a:gd name="T57" fmla="*/ 138 h 170"/>
                <a:gd name="T58" fmla="*/ 24 w 221"/>
                <a:gd name="T59" fmla="*/ 122 h 170"/>
                <a:gd name="T60" fmla="*/ 185 w 221"/>
                <a:gd name="T61" fmla="*/ 7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1" h="170">
                  <a:moveTo>
                    <a:pt x="12" y="104"/>
                  </a:moveTo>
                  <a:cubicBezTo>
                    <a:pt x="6" y="103"/>
                    <a:pt x="6" y="103"/>
                    <a:pt x="6" y="103"/>
                  </a:cubicBezTo>
                  <a:cubicBezTo>
                    <a:pt x="3" y="103"/>
                    <a:pt x="0" y="104"/>
                    <a:pt x="2" y="108"/>
                  </a:cubicBezTo>
                  <a:cubicBezTo>
                    <a:pt x="10" y="141"/>
                    <a:pt x="10" y="141"/>
                    <a:pt x="10" y="141"/>
                  </a:cubicBezTo>
                  <a:cubicBezTo>
                    <a:pt x="12" y="145"/>
                    <a:pt x="14" y="144"/>
                    <a:pt x="16" y="143"/>
                  </a:cubicBezTo>
                  <a:cubicBezTo>
                    <a:pt x="21" y="139"/>
                    <a:pt x="21" y="139"/>
                    <a:pt x="21" y="139"/>
                  </a:cubicBezTo>
                  <a:cubicBezTo>
                    <a:pt x="12" y="104"/>
                    <a:pt x="12" y="104"/>
                    <a:pt x="12" y="104"/>
                  </a:cubicBezTo>
                  <a:close/>
                  <a:moveTo>
                    <a:pt x="185" y="8"/>
                  </a:moveTo>
                  <a:cubicBezTo>
                    <a:pt x="219" y="136"/>
                    <a:pt x="219" y="136"/>
                    <a:pt x="219" y="136"/>
                  </a:cubicBezTo>
                  <a:cubicBezTo>
                    <a:pt x="221" y="143"/>
                    <a:pt x="211" y="146"/>
                    <a:pt x="209" y="139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173" y="3"/>
                    <a:pt x="183" y="0"/>
                    <a:pt x="185" y="8"/>
                  </a:cubicBezTo>
                  <a:close/>
                  <a:moveTo>
                    <a:pt x="104" y="170"/>
                  </a:moveTo>
                  <a:cubicBezTo>
                    <a:pt x="85" y="170"/>
                    <a:pt x="85" y="170"/>
                    <a:pt x="85" y="170"/>
                  </a:cubicBezTo>
                  <a:cubicBezTo>
                    <a:pt x="69" y="170"/>
                    <a:pt x="62" y="156"/>
                    <a:pt x="63" y="143"/>
                  </a:cubicBezTo>
                  <a:cubicBezTo>
                    <a:pt x="73" y="143"/>
                    <a:pt x="73" y="143"/>
                    <a:pt x="73" y="143"/>
                  </a:cubicBezTo>
                  <a:cubicBezTo>
                    <a:pt x="73" y="150"/>
                    <a:pt x="77" y="157"/>
                    <a:pt x="85" y="157"/>
                  </a:cubicBezTo>
                  <a:cubicBezTo>
                    <a:pt x="104" y="157"/>
                    <a:pt x="104" y="157"/>
                    <a:pt x="104" y="157"/>
                  </a:cubicBezTo>
                  <a:cubicBezTo>
                    <a:pt x="112" y="157"/>
                    <a:pt x="116" y="150"/>
                    <a:pt x="116" y="143"/>
                  </a:cubicBezTo>
                  <a:cubicBezTo>
                    <a:pt x="128" y="143"/>
                    <a:pt x="128" y="143"/>
                    <a:pt x="128" y="143"/>
                  </a:cubicBezTo>
                  <a:cubicBezTo>
                    <a:pt x="128" y="156"/>
                    <a:pt x="120" y="170"/>
                    <a:pt x="104" y="170"/>
                  </a:cubicBezTo>
                  <a:close/>
                  <a:moveTo>
                    <a:pt x="18" y="102"/>
                  </a:moveTo>
                  <a:cubicBezTo>
                    <a:pt x="168" y="16"/>
                    <a:pt x="168" y="16"/>
                    <a:pt x="168" y="16"/>
                  </a:cubicBezTo>
                  <a:cubicBezTo>
                    <a:pt x="172" y="30"/>
                    <a:pt x="172" y="30"/>
                    <a:pt x="172" y="30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18" y="102"/>
                    <a:pt x="18" y="102"/>
                    <a:pt x="18" y="102"/>
                  </a:cubicBezTo>
                  <a:close/>
                  <a:moveTo>
                    <a:pt x="185" y="79"/>
                  </a:moveTo>
                  <a:cubicBezTo>
                    <a:pt x="201" y="137"/>
                    <a:pt x="201" y="137"/>
                    <a:pt x="201" y="137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24" y="122"/>
                    <a:pt x="24" y="122"/>
                    <a:pt x="24" y="122"/>
                  </a:cubicBezTo>
                  <a:cubicBezTo>
                    <a:pt x="185" y="79"/>
                    <a:pt x="185" y="79"/>
                    <a:pt x="185" y="7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Rectangle 79"/>
            <p:cNvSpPr/>
            <p:nvPr userDrawn="1"/>
          </p:nvSpPr>
          <p:spPr bwMode="auto">
            <a:xfrm>
              <a:off x="4591439" y="3361047"/>
              <a:ext cx="3041407" cy="35522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My Communications</a:t>
              </a:r>
            </a:p>
          </p:txBody>
        </p:sp>
      </p:grpSp>
      <p:grpSp>
        <p:nvGrpSpPr>
          <p:cNvPr id="14" name="Group 13"/>
          <p:cNvGrpSpPr/>
          <p:nvPr userDrawn="1"/>
        </p:nvGrpSpPr>
        <p:grpSpPr>
          <a:xfrm>
            <a:off x="4589646" y="2002488"/>
            <a:ext cx="3040219" cy="343440"/>
            <a:chOff x="4591439" y="2029118"/>
            <a:chExt cx="3041407" cy="343360"/>
          </a:xfrm>
        </p:grpSpPr>
        <p:sp>
          <p:nvSpPr>
            <p:cNvPr id="69" name="Rectangle 68"/>
            <p:cNvSpPr/>
            <p:nvPr userDrawn="1"/>
          </p:nvSpPr>
          <p:spPr bwMode="auto">
            <a:xfrm>
              <a:off x="4591439" y="2029118"/>
              <a:ext cx="3041407" cy="34336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My Collaboration </a:t>
              </a:r>
            </a:p>
          </p:txBody>
        </p:sp>
        <p:sp>
          <p:nvSpPr>
            <p:cNvPr id="104" name="Freeform 73"/>
            <p:cNvSpPr>
              <a:spLocks noChangeAspect="1" noEditPoints="1"/>
            </p:cNvSpPr>
            <p:nvPr userDrawn="1"/>
          </p:nvSpPr>
          <p:spPr bwMode="black">
            <a:xfrm>
              <a:off x="4654201" y="2081457"/>
              <a:ext cx="279124" cy="260457"/>
            </a:xfrm>
            <a:custGeom>
              <a:avLst/>
              <a:gdLst>
                <a:gd name="T0" fmla="*/ 1799 w 2278"/>
                <a:gd name="T1" fmla="*/ 879 h 2201"/>
                <a:gd name="T2" fmla="*/ 1711 w 2278"/>
                <a:gd name="T3" fmla="*/ 335 h 2201"/>
                <a:gd name="T4" fmla="*/ 1363 w 2278"/>
                <a:gd name="T5" fmla="*/ 315 h 2201"/>
                <a:gd name="T6" fmla="*/ 1068 w 2278"/>
                <a:gd name="T7" fmla="*/ 0 h 2201"/>
                <a:gd name="T8" fmla="*/ 810 w 2278"/>
                <a:gd name="T9" fmla="*/ 412 h 2201"/>
                <a:gd name="T10" fmla="*/ 408 w 2278"/>
                <a:gd name="T11" fmla="*/ 325 h 2201"/>
                <a:gd name="T12" fmla="*/ 246 w 2278"/>
                <a:gd name="T13" fmla="*/ 841 h 2201"/>
                <a:gd name="T14" fmla="*/ 0 w 2278"/>
                <a:gd name="T15" fmla="*/ 1138 h 2201"/>
                <a:gd name="T16" fmla="*/ 338 w 2278"/>
                <a:gd name="T17" fmla="*/ 1396 h 2201"/>
                <a:gd name="T18" fmla="*/ 166 w 2278"/>
                <a:gd name="T19" fmla="*/ 1885 h 2201"/>
                <a:gd name="T20" fmla="*/ 769 w 2278"/>
                <a:gd name="T21" fmla="*/ 1966 h 2201"/>
                <a:gd name="T22" fmla="*/ 1053 w 2278"/>
                <a:gd name="T23" fmla="*/ 2200 h 2201"/>
                <a:gd name="T24" fmla="*/ 1081 w 2278"/>
                <a:gd name="T25" fmla="*/ 2201 h 2201"/>
                <a:gd name="T26" fmla="*/ 1184 w 2278"/>
                <a:gd name="T27" fmla="*/ 1949 h 2201"/>
                <a:gd name="T28" fmla="*/ 1666 w 2278"/>
                <a:gd name="T29" fmla="*/ 1872 h 2201"/>
                <a:gd name="T30" fmla="*/ 1874 w 2278"/>
                <a:gd name="T31" fmla="*/ 1743 h 2201"/>
                <a:gd name="T32" fmla="*/ 2060 w 2278"/>
                <a:gd name="T33" fmla="*/ 1273 h 2201"/>
                <a:gd name="T34" fmla="*/ 1940 w 2278"/>
                <a:gd name="T35" fmla="*/ 1369 h 2201"/>
                <a:gd name="T36" fmla="*/ 1385 w 2278"/>
                <a:gd name="T37" fmla="*/ 1279 h 2201"/>
                <a:gd name="T38" fmla="*/ 1837 w 2278"/>
                <a:gd name="T39" fmla="*/ 1733 h 2201"/>
                <a:gd name="T40" fmla="*/ 1302 w 2278"/>
                <a:gd name="T41" fmla="*/ 1393 h 2201"/>
                <a:gd name="T42" fmla="*/ 1433 w 2278"/>
                <a:gd name="T43" fmla="*/ 1759 h 2201"/>
                <a:gd name="T44" fmla="*/ 1193 w 2278"/>
                <a:gd name="T45" fmla="*/ 1461 h 2201"/>
                <a:gd name="T46" fmla="*/ 1156 w 2278"/>
                <a:gd name="T47" fmla="*/ 1924 h 2201"/>
                <a:gd name="T48" fmla="*/ 1053 w 2278"/>
                <a:gd name="T49" fmla="*/ 1484 h 2201"/>
                <a:gd name="T50" fmla="*/ 878 w 2278"/>
                <a:gd name="T51" fmla="*/ 1857 h 2201"/>
                <a:gd name="T52" fmla="*/ 804 w 2278"/>
                <a:gd name="T53" fmla="*/ 1753 h 2201"/>
                <a:gd name="T54" fmla="*/ 438 w 2278"/>
                <a:gd name="T55" fmla="*/ 1789 h 2201"/>
                <a:gd name="T56" fmla="*/ 369 w 2278"/>
                <a:gd name="T57" fmla="*/ 1741 h 2201"/>
                <a:gd name="T58" fmla="*/ 551 w 2278"/>
                <a:gd name="T59" fmla="*/ 1362 h 2201"/>
                <a:gd name="T60" fmla="*/ 447 w 2278"/>
                <a:gd name="T61" fmla="*/ 1287 h 2201"/>
                <a:gd name="T62" fmla="*/ 723 w 2278"/>
                <a:gd name="T63" fmla="*/ 1153 h 2201"/>
                <a:gd name="T64" fmla="*/ 253 w 2278"/>
                <a:gd name="T65" fmla="*/ 1023 h 2201"/>
                <a:gd name="T66" fmla="*/ 745 w 2278"/>
                <a:gd name="T67" fmla="*/ 1014 h 2201"/>
                <a:gd name="T68" fmla="*/ 386 w 2278"/>
                <a:gd name="T69" fmla="*/ 736 h 2201"/>
                <a:gd name="T70" fmla="*/ 813 w 2278"/>
                <a:gd name="T71" fmla="*/ 904 h 2201"/>
                <a:gd name="T72" fmla="*/ 701 w 2278"/>
                <a:gd name="T73" fmla="*/ 530 h 2201"/>
                <a:gd name="T74" fmla="*/ 944 w 2278"/>
                <a:gd name="T75" fmla="*/ 815 h 2201"/>
                <a:gd name="T76" fmla="*/ 996 w 2278"/>
                <a:gd name="T77" fmla="*/ 287 h 2201"/>
                <a:gd name="T78" fmla="*/ 1083 w 2278"/>
                <a:gd name="T79" fmla="*/ 792 h 2201"/>
                <a:gd name="T80" fmla="*/ 1253 w 2278"/>
                <a:gd name="T81" fmla="*/ 424 h 2201"/>
                <a:gd name="T82" fmla="*/ 1331 w 2278"/>
                <a:gd name="T83" fmla="*/ 529 h 2201"/>
                <a:gd name="T84" fmla="*/ 1558 w 2278"/>
                <a:gd name="T85" fmla="*/ 488 h 2201"/>
                <a:gd name="T86" fmla="*/ 1618 w 2278"/>
                <a:gd name="T87" fmla="*/ 610 h 2201"/>
                <a:gd name="T88" fmla="*/ 1586 w 2278"/>
                <a:gd name="T89" fmla="*/ 914 h 2201"/>
                <a:gd name="T90" fmla="*/ 1690 w 2278"/>
                <a:gd name="T91" fmla="*/ 989 h 2201"/>
                <a:gd name="T92" fmla="*/ 1414 w 2278"/>
                <a:gd name="T93" fmla="*/ 1123 h 2201"/>
                <a:gd name="T94" fmla="*/ 2028 w 2278"/>
                <a:gd name="T95" fmla="*/ 1253 h 2201"/>
                <a:gd name="T96" fmla="*/ 1292 w 2278"/>
                <a:gd name="T97" fmla="*/ 936 h 2201"/>
                <a:gd name="T98" fmla="*/ 1083 w 2278"/>
                <a:gd name="T99" fmla="*/ 837 h 2201"/>
                <a:gd name="T100" fmla="*/ 945 w 2278"/>
                <a:gd name="T101" fmla="*/ 863 h 2201"/>
                <a:gd name="T102" fmla="*/ 787 w 2278"/>
                <a:gd name="T103" fmla="*/ 1031 h 2201"/>
                <a:gd name="T104" fmla="*/ 787 w 2278"/>
                <a:gd name="T105" fmla="*/ 1245 h 2201"/>
                <a:gd name="T106" fmla="*/ 945 w 2278"/>
                <a:gd name="T107" fmla="*/ 1412 h 2201"/>
                <a:gd name="T108" fmla="*/ 1083 w 2278"/>
                <a:gd name="T109" fmla="*/ 1439 h 2201"/>
                <a:gd name="T110" fmla="*/ 1292 w 2278"/>
                <a:gd name="T111" fmla="*/ 1340 h 2201"/>
                <a:gd name="T112" fmla="*/ 1370 w 2278"/>
                <a:gd name="T113" fmla="*/ 1138 h 2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78" h="2201">
                  <a:moveTo>
                    <a:pt x="2125" y="983"/>
                  </a:moveTo>
                  <a:cubicBezTo>
                    <a:pt x="2074" y="983"/>
                    <a:pt x="2030" y="1007"/>
                    <a:pt x="2002" y="1045"/>
                  </a:cubicBezTo>
                  <a:cubicBezTo>
                    <a:pt x="1787" y="929"/>
                    <a:pt x="1787" y="929"/>
                    <a:pt x="1787" y="929"/>
                  </a:cubicBezTo>
                  <a:cubicBezTo>
                    <a:pt x="1795" y="914"/>
                    <a:pt x="1799" y="897"/>
                    <a:pt x="1799" y="879"/>
                  </a:cubicBezTo>
                  <a:cubicBezTo>
                    <a:pt x="1799" y="828"/>
                    <a:pt x="1764" y="785"/>
                    <a:pt x="1715" y="773"/>
                  </a:cubicBezTo>
                  <a:cubicBezTo>
                    <a:pt x="1729" y="640"/>
                    <a:pt x="1729" y="640"/>
                    <a:pt x="1729" y="640"/>
                  </a:cubicBezTo>
                  <a:cubicBezTo>
                    <a:pt x="1805" y="630"/>
                    <a:pt x="1863" y="566"/>
                    <a:pt x="1863" y="488"/>
                  </a:cubicBezTo>
                  <a:cubicBezTo>
                    <a:pt x="1863" y="404"/>
                    <a:pt x="1795" y="335"/>
                    <a:pt x="1711" y="335"/>
                  </a:cubicBezTo>
                  <a:cubicBezTo>
                    <a:pt x="1645" y="335"/>
                    <a:pt x="1589" y="377"/>
                    <a:pt x="1567" y="435"/>
                  </a:cubicBezTo>
                  <a:cubicBezTo>
                    <a:pt x="1472" y="427"/>
                    <a:pt x="1472" y="427"/>
                    <a:pt x="1472" y="427"/>
                  </a:cubicBezTo>
                  <a:cubicBezTo>
                    <a:pt x="1472" y="426"/>
                    <a:pt x="1472" y="425"/>
                    <a:pt x="1472" y="424"/>
                  </a:cubicBezTo>
                  <a:cubicBezTo>
                    <a:pt x="1472" y="364"/>
                    <a:pt x="1423" y="315"/>
                    <a:pt x="1363" y="315"/>
                  </a:cubicBezTo>
                  <a:cubicBezTo>
                    <a:pt x="1334" y="315"/>
                    <a:pt x="1309" y="326"/>
                    <a:pt x="1289" y="343"/>
                  </a:cubicBezTo>
                  <a:cubicBezTo>
                    <a:pt x="1187" y="250"/>
                    <a:pt x="1187" y="250"/>
                    <a:pt x="1187" y="250"/>
                  </a:cubicBezTo>
                  <a:cubicBezTo>
                    <a:pt x="1208" y="223"/>
                    <a:pt x="1221" y="190"/>
                    <a:pt x="1221" y="153"/>
                  </a:cubicBezTo>
                  <a:cubicBezTo>
                    <a:pt x="1221" y="69"/>
                    <a:pt x="1153" y="0"/>
                    <a:pt x="1068" y="0"/>
                  </a:cubicBezTo>
                  <a:cubicBezTo>
                    <a:pt x="984" y="0"/>
                    <a:pt x="916" y="69"/>
                    <a:pt x="916" y="153"/>
                  </a:cubicBezTo>
                  <a:cubicBezTo>
                    <a:pt x="916" y="197"/>
                    <a:pt x="935" y="237"/>
                    <a:pt x="965" y="265"/>
                  </a:cubicBezTo>
                  <a:cubicBezTo>
                    <a:pt x="856" y="422"/>
                    <a:pt x="856" y="422"/>
                    <a:pt x="856" y="422"/>
                  </a:cubicBezTo>
                  <a:cubicBezTo>
                    <a:pt x="842" y="416"/>
                    <a:pt x="827" y="412"/>
                    <a:pt x="810" y="412"/>
                  </a:cubicBezTo>
                  <a:cubicBezTo>
                    <a:pt x="760" y="412"/>
                    <a:pt x="717" y="446"/>
                    <a:pt x="705" y="493"/>
                  </a:cubicBezTo>
                  <a:cubicBezTo>
                    <a:pt x="561" y="480"/>
                    <a:pt x="561" y="480"/>
                    <a:pt x="561" y="480"/>
                  </a:cubicBezTo>
                  <a:cubicBezTo>
                    <a:pt x="561" y="480"/>
                    <a:pt x="561" y="479"/>
                    <a:pt x="561" y="478"/>
                  </a:cubicBezTo>
                  <a:cubicBezTo>
                    <a:pt x="561" y="394"/>
                    <a:pt x="493" y="325"/>
                    <a:pt x="408" y="325"/>
                  </a:cubicBezTo>
                  <a:cubicBezTo>
                    <a:pt x="324" y="325"/>
                    <a:pt x="256" y="394"/>
                    <a:pt x="256" y="478"/>
                  </a:cubicBezTo>
                  <a:cubicBezTo>
                    <a:pt x="256" y="546"/>
                    <a:pt x="300" y="603"/>
                    <a:pt x="362" y="623"/>
                  </a:cubicBezTo>
                  <a:cubicBezTo>
                    <a:pt x="348" y="732"/>
                    <a:pt x="348" y="732"/>
                    <a:pt x="348" y="732"/>
                  </a:cubicBezTo>
                  <a:cubicBezTo>
                    <a:pt x="291" y="736"/>
                    <a:pt x="246" y="783"/>
                    <a:pt x="246" y="841"/>
                  </a:cubicBezTo>
                  <a:cubicBezTo>
                    <a:pt x="246" y="873"/>
                    <a:pt x="259" y="901"/>
                    <a:pt x="281" y="921"/>
                  </a:cubicBezTo>
                  <a:cubicBezTo>
                    <a:pt x="221" y="1002"/>
                    <a:pt x="221" y="1002"/>
                    <a:pt x="221" y="1002"/>
                  </a:cubicBezTo>
                  <a:cubicBezTo>
                    <a:pt x="201" y="991"/>
                    <a:pt x="177" y="985"/>
                    <a:pt x="153" y="985"/>
                  </a:cubicBezTo>
                  <a:cubicBezTo>
                    <a:pt x="68" y="985"/>
                    <a:pt x="0" y="1054"/>
                    <a:pt x="0" y="1138"/>
                  </a:cubicBezTo>
                  <a:cubicBezTo>
                    <a:pt x="0" y="1222"/>
                    <a:pt x="68" y="1291"/>
                    <a:pt x="153" y="1291"/>
                  </a:cubicBezTo>
                  <a:cubicBezTo>
                    <a:pt x="190" y="1291"/>
                    <a:pt x="225" y="1277"/>
                    <a:pt x="251" y="1254"/>
                  </a:cubicBezTo>
                  <a:cubicBezTo>
                    <a:pt x="354" y="1339"/>
                    <a:pt x="354" y="1339"/>
                    <a:pt x="354" y="1339"/>
                  </a:cubicBezTo>
                  <a:cubicBezTo>
                    <a:pt x="344" y="1356"/>
                    <a:pt x="338" y="1375"/>
                    <a:pt x="338" y="1396"/>
                  </a:cubicBezTo>
                  <a:cubicBezTo>
                    <a:pt x="338" y="1436"/>
                    <a:pt x="359" y="1471"/>
                    <a:pt x="392" y="1490"/>
                  </a:cubicBezTo>
                  <a:cubicBezTo>
                    <a:pt x="332" y="1733"/>
                    <a:pt x="332" y="1733"/>
                    <a:pt x="332" y="1733"/>
                  </a:cubicBezTo>
                  <a:cubicBezTo>
                    <a:pt x="328" y="1732"/>
                    <a:pt x="323" y="1732"/>
                    <a:pt x="319" y="1732"/>
                  </a:cubicBezTo>
                  <a:cubicBezTo>
                    <a:pt x="235" y="1732"/>
                    <a:pt x="166" y="1800"/>
                    <a:pt x="166" y="1885"/>
                  </a:cubicBezTo>
                  <a:cubicBezTo>
                    <a:pt x="166" y="1969"/>
                    <a:pt x="235" y="2038"/>
                    <a:pt x="319" y="2038"/>
                  </a:cubicBezTo>
                  <a:cubicBezTo>
                    <a:pt x="399" y="2038"/>
                    <a:pt x="464" y="1977"/>
                    <a:pt x="471" y="1899"/>
                  </a:cubicBezTo>
                  <a:cubicBezTo>
                    <a:pt x="664" y="1884"/>
                    <a:pt x="664" y="1884"/>
                    <a:pt x="664" y="1884"/>
                  </a:cubicBezTo>
                  <a:cubicBezTo>
                    <a:pt x="676" y="1931"/>
                    <a:pt x="718" y="1966"/>
                    <a:pt x="769" y="1966"/>
                  </a:cubicBezTo>
                  <a:cubicBezTo>
                    <a:pt x="802" y="1966"/>
                    <a:pt x="832" y="1951"/>
                    <a:pt x="852" y="1928"/>
                  </a:cubicBezTo>
                  <a:cubicBezTo>
                    <a:pt x="931" y="1982"/>
                    <a:pt x="931" y="1982"/>
                    <a:pt x="931" y="1982"/>
                  </a:cubicBezTo>
                  <a:cubicBezTo>
                    <a:pt x="921" y="2002"/>
                    <a:pt x="916" y="2024"/>
                    <a:pt x="916" y="2049"/>
                  </a:cubicBezTo>
                  <a:cubicBezTo>
                    <a:pt x="916" y="2128"/>
                    <a:pt x="976" y="2193"/>
                    <a:pt x="1053" y="2200"/>
                  </a:cubicBezTo>
                  <a:cubicBezTo>
                    <a:pt x="1053" y="2201"/>
                    <a:pt x="1053" y="2201"/>
                    <a:pt x="1053" y="2201"/>
                  </a:cubicBezTo>
                  <a:cubicBezTo>
                    <a:pt x="1056" y="2201"/>
                    <a:pt x="1056" y="2201"/>
                    <a:pt x="1056" y="2201"/>
                  </a:cubicBezTo>
                  <a:cubicBezTo>
                    <a:pt x="1060" y="2201"/>
                    <a:pt x="1064" y="2201"/>
                    <a:pt x="1068" y="2201"/>
                  </a:cubicBezTo>
                  <a:cubicBezTo>
                    <a:pt x="1073" y="2201"/>
                    <a:pt x="1077" y="2201"/>
                    <a:pt x="1081" y="2201"/>
                  </a:cubicBezTo>
                  <a:cubicBezTo>
                    <a:pt x="1083" y="2201"/>
                    <a:pt x="1083" y="2201"/>
                    <a:pt x="1083" y="2201"/>
                  </a:cubicBezTo>
                  <a:cubicBezTo>
                    <a:pt x="1083" y="2201"/>
                    <a:pt x="1083" y="2201"/>
                    <a:pt x="1083" y="2201"/>
                  </a:cubicBezTo>
                  <a:cubicBezTo>
                    <a:pt x="1161" y="2193"/>
                    <a:pt x="1221" y="2128"/>
                    <a:pt x="1221" y="2049"/>
                  </a:cubicBezTo>
                  <a:cubicBezTo>
                    <a:pt x="1221" y="2011"/>
                    <a:pt x="1207" y="1976"/>
                    <a:pt x="1184" y="1949"/>
                  </a:cubicBezTo>
                  <a:cubicBezTo>
                    <a:pt x="1268" y="1853"/>
                    <a:pt x="1268" y="1853"/>
                    <a:pt x="1268" y="1853"/>
                  </a:cubicBezTo>
                  <a:cubicBezTo>
                    <a:pt x="1285" y="1863"/>
                    <a:pt x="1304" y="1869"/>
                    <a:pt x="1324" y="1869"/>
                  </a:cubicBezTo>
                  <a:cubicBezTo>
                    <a:pt x="1364" y="1869"/>
                    <a:pt x="1399" y="1847"/>
                    <a:pt x="1418" y="1815"/>
                  </a:cubicBezTo>
                  <a:cubicBezTo>
                    <a:pt x="1666" y="1872"/>
                    <a:pt x="1666" y="1872"/>
                    <a:pt x="1666" y="1872"/>
                  </a:cubicBezTo>
                  <a:cubicBezTo>
                    <a:pt x="1665" y="1876"/>
                    <a:pt x="1665" y="1880"/>
                    <a:pt x="1665" y="1885"/>
                  </a:cubicBezTo>
                  <a:cubicBezTo>
                    <a:pt x="1665" y="1969"/>
                    <a:pt x="1734" y="2038"/>
                    <a:pt x="1818" y="2038"/>
                  </a:cubicBezTo>
                  <a:cubicBezTo>
                    <a:pt x="1902" y="2038"/>
                    <a:pt x="1971" y="1969"/>
                    <a:pt x="1971" y="1885"/>
                  </a:cubicBezTo>
                  <a:cubicBezTo>
                    <a:pt x="1971" y="1820"/>
                    <a:pt x="1931" y="1765"/>
                    <a:pt x="1874" y="1743"/>
                  </a:cubicBezTo>
                  <a:cubicBezTo>
                    <a:pt x="1893" y="1572"/>
                    <a:pt x="1893" y="1572"/>
                    <a:pt x="1893" y="1572"/>
                  </a:cubicBezTo>
                  <a:cubicBezTo>
                    <a:pt x="1949" y="1567"/>
                    <a:pt x="1994" y="1520"/>
                    <a:pt x="1994" y="1463"/>
                  </a:cubicBezTo>
                  <a:cubicBezTo>
                    <a:pt x="1994" y="1436"/>
                    <a:pt x="1984" y="1412"/>
                    <a:pt x="1969" y="1393"/>
                  </a:cubicBezTo>
                  <a:cubicBezTo>
                    <a:pt x="2060" y="1273"/>
                    <a:pt x="2060" y="1273"/>
                    <a:pt x="2060" y="1273"/>
                  </a:cubicBezTo>
                  <a:cubicBezTo>
                    <a:pt x="2080" y="1283"/>
                    <a:pt x="2102" y="1288"/>
                    <a:pt x="2125" y="1288"/>
                  </a:cubicBezTo>
                  <a:cubicBezTo>
                    <a:pt x="2209" y="1288"/>
                    <a:pt x="2278" y="1220"/>
                    <a:pt x="2278" y="1135"/>
                  </a:cubicBezTo>
                  <a:cubicBezTo>
                    <a:pt x="2278" y="1051"/>
                    <a:pt x="2209" y="983"/>
                    <a:pt x="2125" y="983"/>
                  </a:cubicBezTo>
                  <a:close/>
                  <a:moveTo>
                    <a:pt x="1940" y="1369"/>
                  </a:moveTo>
                  <a:cubicBezTo>
                    <a:pt x="1924" y="1359"/>
                    <a:pt x="1905" y="1353"/>
                    <a:pt x="1884" y="1353"/>
                  </a:cubicBezTo>
                  <a:cubicBezTo>
                    <a:pt x="1838" y="1353"/>
                    <a:pt x="1798" y="1383"/>
                    <a:pt x="1782" y="1424"/>
                  </a:cubicBezTo>
                  <a:cubicBezTo>
                    <a:pt x="1392" y="1262"/>
                    <a:pt x="1392" y="1262"/>
                    <a:pt x="1392" y="1262"/>
                  </a:cubicBezTo>
                  <a:cubicBezTo>
                    <a:pt x="1390" y="1268"/>
                    <a:pt x="1387" y="1273"/>
                    <a:pt x="1385" y="1279"/>
                  </a:cubicBezTo>
                  <a:cubicBezTo>
                    <a:pt x="1777" y="1441"/>
                    <a:pt x="1777" y="1441"/>
                    <a:pt x="1777" y="1441"/>
                  </a:cubicBezTo>
                  <a:cubicBezTo>
                    <a:pt x="1776" y="1448"/>
                    <a:pt x="1775" y="1455"/>
                    <a:pt x="1775" y="1463"/>
                  </a:cubicBezTo>
                  <a:cubicBezTo>
                    <a:pt x="1775" y="1513"/>
                    <a:pt x="1809" y="1555"/>
                    <a:pt x="1855" y="1568"/>
                  </a:cubicBezTo>
                  <a:cubicBezTo>
                    <a:pt x="1837" y="1733"/>
                    <a:pt x="1837" y="1733"/>
                    <a:pt x="1837" y="1733"/>
                  </a:cubicBezTo>
                  <a:cubicBezTo>
                    <a:pt x="1831" y="1733"/>
                    <a:pt x="1825" y="1732"/>
                    <a:pt x="1818" y="1732"/>
                  </a:cubicBezTo>
                  <a:cubicBezTo>
                    <a:pt x="1781" y="1732"/>
                    <a:pt x="1746" y="1746"/>
                    <a:pt x="1720" y="1768"/>
                  </a:cubicBezTo>
                  <a:cubicBezTo>
                    <a:pt x="1324" y="1372"/>
                    <a:pt x="1324" y="1372"/>
                    <a:pt x="1324" y="1372"/>
                  </a:cubicBezTo>
                  <a:cubicBezTo>
                    <a:pt x="1317" y="1379"/>
                    <a:pt x="1310" y="1386"/>
                    <a:pt x="1302" y="1393"/>
                  </a:cubicBezTo>
                  <a:cubicBezTo>
                    <a:pt x="1699" y="1789"/>
                    <a:pt x="1699" y="1789"/>
                    <a:pt x="1699" y="1789"/>
                  </a:cubicBezTo>
                  <a:cubicBezTo>
                    <a:pt x="1688" y="1803"/>
                    <a:pt x="1679" y="1818"/>
                    <a:pt x="1674" y="1835"/>
                  </a:cubicBezTo>
                  <a:cubicBezTo>
                    <a:pt x="1432" y="1779"/>
                    <a:pt x="1432" y="1779"/>
                    <a:pt x="1432" y="1779"/>
                  </a:cubicBezTo>
                  <a:cubicBezTo>
                    <a:pt x="1433" y="1773"/>
                    <a:pt x="1433" y="1766"/>
                    <a:pt x="1433" y="1759"/>
                  </a:cubicBezTo>
                  <a:cubicBezTo>
                    <a:pt x="1433" y="1699"/>
                    <a:pt x="1385" y="1650"/>
                    <a:pt x="1324" y="1650"/>
                  </a:cubicBezTo>
                  <a:cubicBezTo>
                    <a:pt x="1313" y="1650"/>
                    <a:pt x="1302" y="1652"/>
                    <a:pt x="1292" y="1655"/>
                  </a:cubicBezTo>
                  <a:cubicBezTo>
                    <a:pt x="1209" y="1454"/>
                    <a:pt x="1209" y="1454"/>
                    <a:pt x="1209" y="1454"/>
                  </a:cubicBezTo>
                  <a:cubicBezTo>
                    <a:pt x="1204" y="1457"/>
                    <a:pt x="1198" y="1459"/>
                    <a:pt x="1193" y="1461"/>
                  </a:cubicBezTo>
                  <a:cubicBezTo>
                    <a:pt x="1276" y="1662"/>
                    <a:pt x="1276" y="1662"/>
                    <a:pt x="1276" y="1662"/>
                  </a:cubicBezTo>
                  <a:cubicBezTo>
                    <a:pt x="1240" y="1680"/>
                    <a:pt x="1215" y="1717"/>
                    <a:pt x="1215" y="1759"/>
                  </a:cubicBezTo>
                  <a:cubicBezTo>
                    <a:pt x="1215" y="1786"/>
                    <a:pt x="1224" y="1810"/>
                    <a:pt x="1240" y="1828"/>
                  </a:cubicBezTo>
                  <a:cubicBezTo>
                    <a:pt x="1156" y="1924"/>
                    <a:pt x="1156" y="1924"/>
                    <a:pt x="1156" y="1924"/>
                  </a:cubicBezTo>
                  <a:cubicBezTo>
                    <a:pt x="1135" y="1909"/>
                    <a:pt x="1110" y="1899"/>
                    <a:pt x="1083" y="1897"/>
                  </a:cubicBezTo>
                  <a:cubicBezTo>
                    <a:pt x="1083" y="1484"/>
                    <a:pt x="1083" y="1484"/>
                    <a:pt x="1083" y="1484"/>
                  </a:cubicBezTo>
                  <a:cubicBezTo>
                    <a:pt x="1078" y="1484"/>
                    <a:pt x="1073" y="1484"/>
                    <a:pt x="1068" y="1484"/>
                  </a:cubicBezTo>
                  <a:cubicBezTo>
                    <a:pt x="1063" y="1484"/>
                    <a:pt x="1058" y="1484"/>
                    <a:pt x="1053" y="1484"/>
                  </a:cubicBezTo>
                  <a:cubicBezTo>
                    <a:pt x="1053" y="1897"/>
                    <a:pt x="1053" y="1897"/>
                    <a:pt x="1053" y="1897"/>
                  </a:cubicBezTo>
                  <a:cubicBezTo>
                    <a:pt x="1013" y="1901"/>
                    <a:pt x="977" y="1920"/>
                    <a:pt x="952" y="1950"/>
                  </a:cubicBezTo>
                  <a:cubicBezTo>
                    <a:pt x="871" y="1895"/>
                    <a:pt x="871" y="1895"/>
                    <a:pt x="871" y="1895"/>
                  </a:cubicBezTo>
                  <a:cubicBezTo>
                    <a:pt x="876" y="1883"/>
                    <a:pt x="878" y="1870"/>
                    <a:pt x="878" y="1857"/>
                  </a:cubicBezTo>
                  <a:cubicBezTo>
                    <a:pt x="878" y="1815"/>
                    <a:pt x="855" y="1779"/>
                    <a:pt x="820" y="1760"/>
                  </a:cubicBezTo>
                  <a:cubicBezTo>
                    <a:pt x="944" y="1461"/>
                    <a:pt x="944" y="1461"/>
                    <a:pt x="944" y="1461"/>
                  </a:cubicBezTo>
                  <a:cubicBezTo>
                    <a:pt x="939" y="1459"/>
                    <a:pt x="933" y="1457"/>
                    <a:pt x="928" y="1454"/>
                  </a:cubicBezTo>
                  <a:cubicBezTo>
                    <a:pt x="804" y="1753"/>
                    <a:pt x="804" y="1753"/>
                    <a:pt x="804" y="1753"/>
                  </a:cubicBezTo>
                  <a:cubicBezTo>
                    <a:pt x="793" y="1749"/>
                    <a:pt x="781" y="1747"/>
                    <a:pt x="769" y="1747"/>
                  </a:cubicBezTo>
                  <a:cubicBezTo>
                    <a:pt x="712" y="1747"/>
                    <a:pt x="666" y="1791"/>
                    <a:pt x="660" y="1846"/>
                  </a:cubicBezTo>
                  <a:cubicBezTo>
                    <a:pt x="470" y="1861"/>
                    <a:pt x="470" y="1861"/>
                    <a:pt x="470" y="1861"/>
                  </a:cubicBezTo>
                  <a:cubicBezTo>
                    <a:pt x="466" y="1834"/>
                    <a:pt x="454" y="1810"/>
                    <a:pt x="438" y="1789"/>
                  </a:cubicBezTo>
                  <a:cubicBezTo>
                    <a:pt x="835" y="1393"/>
                    <a:pt x="835" y="1393"/>
                    <a:pt x="835" y="1393"/>
                  </a:cubicBezTo>
                  <a:cubicBezTo>
                    <a:pt x="827" y="1386"/>
                    <a:pt x="820" y="1379"/>
                    <a:pt x="813" y="1372"/>
                  </a:cubicBezTo>
                  <a:cubicBezTo>
                    <a:pt x="417" y="1768"/>
                    <a:pt x="417" y="1768"/>
                    <a:pt x="417" y="1768"/>
                  </a:cubicBezTo>
                  <a:cubicBezTo>
                    <a:pt x="403" y="1756"/>
                    <a:pt x="387" y="1747"/>
                    <a:pt x="369" y="1741"/>
                  </a:cubicBezTo>
                  <a:cubicBezTo>
                    <a:pt x="428" y="1504"/>
                    <a:pt x="428" y="1504"/>
                    <a:pt x="428" y="1504"/>
                  </a:cubicBezTo>
                  <a:cubicBezTo>
                    <a:pt x="434" y="1505"/>
                    <a:pt x="440" y="1505"/>
                    <a:pt x="447" y="1505"/>
                  </a:cubicBezTo>
                  <a:cubicBezTo>
                    <a:pt x="507" y="1505"/>
                    <a:pt x="556" y="1457"/>
                    <a:pt x="556" y="1396"/>
                  </a:cubicBezTo>
                  <a:cubicBezTo>
                    <a:pt x="556" y="1384"/>
                    <a:pt x="554" y="1373"/>
                    <a:pt x="551" y="1362"/>
                  </a:cubicBezTo>
                  <a:cubicBezTo>
                    <a:pt x="752" y="1279"/>
                    <a:pt x="752" y="1279"/>
                    <a:pt x="752" y="1279"/>
                  </a:cubicBezTo>
                  <a:cubicBezTo>
                    <a:pt x="750" y="1273"/>
                    <a:pt x="747" y="1268"/>
                    <a:pt x="745" y="1262"/>
                  </a:cubicBezTo>
                  <a:cubicBezTo>
                    <a:pt x="544" y="1345"/>
                    <a:pt x="544" y="1345"/>
                    <a:pt x="544" y="1345"/>
                  </a:cubicBezTo>
                  <a:cubicBezTo>
                    <a:pt x="525" y="1311"/>
                    <a:pt x="489" y="1287"/>
                    <a:pt x="447" y="1287"/>
                  </a:cubicBezTo>
                  <a:cubicBezTo>
                    <a:pt x="421" y="1287"/>
                    <a:pt x="397" y="1296"/>
                    <a:pt x="379" y="1311"/>
                  </a:cubicBezTo>
                  <a:cubicBezTo>
                    <a:pt x="277" y="1226"/>
                    <a:pt x="277" y="1226"/>
                    <a:pt x="277" y="1226"/>
                  </a:cubicBezTo>
                  <a:cubicBezTo>
                    <a:pt x="292" y="1205"/>
                    <a:pt x="302" y="1180"/>
                    <a:pt x="305" y="1153"/>
                  </a:cubicBezTo>
                  <a:cubicBezTo>
                    <a:pt x="723" y="1153"/>
                    <a:pt x="723" y="1153"/>
                    <a:pt x="723" y="1153"/>
                  </a:cubicBezTo>
                  <a:cubicBezTo>
                    <a:pt x="722" y="1148"/>
                    <a:pt x="722" y="1143"/>
                    <a:pt x="722" y="1138"/>
                  </a:cubicBezTo>
                  <a:cubicBezTo>
                    <a:pt x="722" y="1133"/>
                    <a:pt x="722" y="1128"/>
                    <a:pt x="723" y="1123"/>
                  </a:cubicBezTo>
                  <a:cubicBezTo>
                    <a:pt x="305" y="1123"/>
                    <a:pt x="305" y="1123"/>
                    <a:pt x="305" y="1123"/>
                  </a:cubicBezTo>
                  <a:cubicBezTo>
                    <a:pt x="301" y="1083"/>
                    <a:pt x="281" y="1048"/>
                    <a:pt x="253" y="1023"/>
                  </a:cubicBezTo>
                  <a:cubicBezTo>
                    <a:pt x="312" y="942"/>
                    <a:pt x="312" y="942"/>
                    <a:pt x="312" y="942"/>
                  </a:cubicBezTo>
                  <a:cubicBezTo>
                    <a:pt x="325" y="947"/>
                    <a:pt x="340" y="950"/>
                    <a:pt x="355" y="950"/>
                  </a:cubicBezTo>
                  <a:cubicBezTo>
                    <a:pt x="397" y="950"/>
                    <a:pt x="433" y="927"/>
                    <a:pt x="451" y="892"/>
                  </a:cubicBezTo>
                  <a:cubicBezTo>
                    <a:pt x="745" y="1014"/>
                    <a:pt x="745" y="1014"/>
                    <a:pt x="745" y="1014"/>
                  </a:cubicBezTo>
                  <a:cubicBezTo>
                    <a:pt x="747" y="1008"/>
                    <a:pt x="750" y="1003"/>
                    <a:pt x="752" y="997"/>
                  </a:cubicBezTo>
                  <a:cubicBezTo>
                    <a:pt x="458" y="875"/>
                    <a:pt x="458" y="875"/>
                    <a:pt x="458" y="875"/>
                  </a:cubicBezTo>
                  <a:cubicBezTo>
                    <a:pt x="462" y="865"/>
                    <a:pt x="464" y="853"/>
                    <a:pt x="464" y="841"/>
                  </a:cubicBezTo>
                  <a:cubicBezTo>
                    <a:pt x="464" y="792"/>
                    <a:pt x="431" y="750"/>
                    <a:pt x="386" y="736"/>
                  </a:cubicBezTo>
                  <a:cubicBezTo>
                    <a:pt x="399" y="630"/>
                    <a:pt x="399" y="630"/>
                    <a:pt x="399" y="630"/>
                  </a:cubicBezTo>
                  <a:cubicBezTo>
                    <a:pt x="402" y="630"/>
                    <a:pt x="405" y="631"/>
                    <a:pt x="408" y="631"/>
                  </a:cubicBezTo>
                  <a:cubicBezTo>
                    <a:pt x="445" y="631"/>
                    <a:pt x="479" y="618"/>
                    <a:pt x="505" y="596"/>
                  </a:cubicBezTo>
                  <a:cubicBezTo>
                    <a:pt x="813" y="904"/>
                    <a:pt x="813" y="904"/>
                    <a:pt x="813" y="904"/>
                  </a:cubicBezTo>
                  <a:cubicBezTo>
                    <a:pt x="820" y="897"/>
                    <a:pt x="827" y="889"/>
                    <a:pt x="835" y="883"/>
                  </a:cubicBezTo>
                  <a:cubicBezTo>
                    <a:pt x="527" y="575"/>
                    <a:pt x="527" y="575"/>
                    <a:pt x="527" y="575"/>
                  </a:cubicBezTo>
                  <a:cubicBezTo>
                    <a:pt x="540" y="558"/>
                    <a:pt x="550" y="539"/>
                    <a:pt x="556" y="518"/>
                  </a:cubicBezTo>
                  <a:cubicBezTo>
                    <a:pt x="701" y="530"/>
                    <a:pt x="701" y="530"/>
                    <a:pt x="701" y="530"/>
                  </a:cubicBezTo>
                  <a:cubicBezTo>
                    <a:pt x="706" y="587"/>
                    <a:pt x="753" y="631"/>
                    <a:pt x="810" y="631"/>
                  </a:cubicBezTo>
                  <a:cubicBezTo>
                    <a:pt x="823" y="631"/>
                    <a:pt x="835" y="628"/>
                    <a:pt x="846" y="624"/>
                  </a:cubicBezTo>
                  <a:cubicBezTo>
                    <a:pt x="928" y="822"/>
                    <a:pt x="928" y="822"/>
                    <a:pt x="928" y="822"/>
                  </a:cubicBezTo>
                  <a:cubicBezTo>
                    <a:pt x="933" y="819"/>
                    <a:pt x="939" y="817"/>
                    <a:pt x="944" y="815"/>
                  </a:cubicBezTo>
                  <a:cubicBezTo>
                    <a:pt x="863" y="617"/>
                    <a:pt x="863" y="617"/>
                    <a:pt x="863" y="617"/>
                  </a:cubicBezTo>
                  <a:cubicBezTo>
                    <a:pt x="896" y="599"/>
                    <a:pt x="919" y="563"/>
                    <a:pt x="919" y="521"/>
                  </a:cubicBezTo>
                  <a:cubicBezTo>
                    <a:pt x="919" y="491"/>
                    <a:pt x="907" y="464"/>
                    <a:pt x="887" y="444"/>
                  </a:cubicBezTo>
                  <a:cubicBezTo>
                    <a:pt x="996" y="287"/>
                    <a:pt x="996" y="287"/>
                    <a:pt x="996" y="287"/>
                  </a:cubicBezTo>
                  <a:cubicBezTo>
                    <a:pt x="1013" y="297"/>
                    <a:pt x="1033" y="303"/>
                    <a:pt x="1053" y="305"/>
                  </a:cubicBezTo>
                  <a:cubicBezTo>
                    <a:pt x="1053" y="792"/>
                    <a:pt x="1053" y="792"/>
                    <a:pt x="1053" y="792"/>
                  </a:cubicBezTo>
                  <a:cubicBezTo>
                    <a:pt x="1058" y="792"/>
                    <a:pt x="1063" y="792"/>
                    <a:pt x="1068" y="792"/>
                  </a:cubicBezTo>
                  <a:cubicBezTo>
                    <a:pt x="1073" y="792"/>
                    <a:pt x="1078" y="792"/>
                    <a:pt x="1083" y="792"/>
                  </a:cubicBezTo>
                  <a:cubicBezTo>
                    <a:pt x="1083" y="305"/>
                    <a:pt x="1083" y="305"/>
                    <a:pt x="1083" y="305"/>
                  </a:cubicBezTo>
                  <a:cubicBezTo>
                    <a:pt x="1112" y="302"/>
                    <a:pt x="1138" y="292"/>
                    <a:pt x="1159" y="276"/>
                  </a:cubicBezTo>
                  <a:cubicBezTo>
                    <a:pt x="1266" y="373"/>
                    <a:pt x="1266" y="373"/>
                    <a:pt x="1266" y="373"/>
                  </a:cubicBezTo>
                  <a:cubicBezTo>
                    <a:pt x="1258" y="388"/>
                    <a:pt x="1253" y="406"/>
                    <a:pt x="1253" y="424"/>
                  </a:cubicBezTo>
                  <a:cubicBezTo>
                    <a:pt x="1253" y="467"/>
                    <a:pt x="1278" y="504"/>
                    <a:pt x="1314" y="522"/>
                  </a:cubicBezTo>
                  <a:cubicBezTo>
                    <a:pt x="1193" y="815"/>
                    <a:pt x="1193" y="815"/>
                    <a:pt x="1193" y="815"/>
                  </a:cubicBezTo>
                  <a:cubicBezTo>
                    <a:pt x="1198" y="817"/>
                    <a:pt x="1204" y="819"/>
                    <a:pt x="1209" y="822"/>
                  </a:cubicBezTo>
                  <a:cubicBezTo>
                    <a:pt x="1331" y="529"/>
                    <a:pt x="1331" y="529"/>
                    <a:pt x="1331" y="529"/>
                  </a:cubicBezTo>
                  <a:cubicBezTo>
                    <a:pt x="1341" y="532"/>
                    <a:pt x="1351" y="533"/>
                    <a:pt x="1363" y="533"/>
                  </a:cubicBezTo>
                  <a:cubicBezTo>
                    <a:pt x="1409" y="533"/>
                    <a:pt x="1448" y="505"/>
                    <a:pt x="1464" y="464"/>
                  </a:cubicBezTo>
                  <a:cubicBezTo>
                    <a:pt x="1559" y="472"/>
                    <a:pt x="1559" y="472"/>
                    <a:pt x="1559" y="472"/>
                  </a:cubicBezTo>
                  <a:cubicBezTo>
                    <a:pt x="1558" y="477"/>
                    <a:pt x="1558" y="483"/>
                    <a:pt x="1558" y="488"/>
                  </a:cubicBezTo>
                  <a:cubicBezTo>
                    <a:pt x="1558" y="527"/>
                    <a:pt x="1572" y="562"/>
                    <a:pt x="1596" y="589"/>
                  </a:cubicBezTo>
                  <a:cubicBezTo>
                    <a:pt x="1302" y="883"/>
                    <a:pt x="1302" y="883"/>
                    <a:pt x="1302" y="883"/>
                  </a:cubicBezTo>
                  <a:cubicBezTo>
                    <a:pt x="1310" y="889"/>
                    <a:pt x="1317" y="897"/>
                    <a:pt x="1324" y="904"/>
                  </a:cubicBezTo>
                  <a:cubicBezTo>
                    <a:pt x="1618" y="610"/>
                    <a:pt x="1618" y="610"/>
                    <a:pt x="1618" y="610"/>
                  </a:cubicBezTo>
                  <a:cubicBezTo>
                    <a:pt x="1639" y="625"/>
                    <a:pt x="1664" y="636"/>
                    <a:pt x="1691" y="640"/>
                  </a:cubicBezTo>
                  <a:cubicBezTo>
                    <a:pt x="1678" y="771"/>
                    <a:pt x="1678" y="771"/>
                    <a:pt x="1678" y="771"/>
                  </a:cubicBezTo>
                  <a:cubicBezTo>
                    <a:pt x="1623" y="777"/>
                    <a:pt x="1581" y="823"/>
                    <a:pt x="1581" y="879"/>
                  </a:cubicBezTo>
                  <a:cubicBezTo>
                    <a:pt x="1581" y="891"/>
                    <a:pt x="1583" y="903"/>
                    <a:pt x="1586" y="914"/>
                  </a:cubicBezTo>
                  <a:cubicBezTo>
                    <a:pt x="1385" y="997"/>
                    <a:pt x="1385" y="997"/>
                    <a:pt x="1385" y="997"/>
                  </a:cubicBezTo>
                  <a:cubicBezTo>
                    <a:pt x="1387" y="1003"/>
                    <a:pt x="1390" y="1008"/>
                    <a:pt x="1392" y="1014"/>
                  </a:cubicBezTo>
                  <a:cubicBezTo>
                    <a:pt x="1593" y="930"/>
                    <a:pt x="1593" y="930"/>
                    <a:pt x="1593" y="930"/>
                  </a:cubicBezTo>
                  <a:cubicBezTo>
                    <a:pt x="1612" y="965"/>
                    <a:pt x="1648" y="989"/>
                    <a:pt x="1690" y="989"/>
                  </a:cubicBezTo>
                  <a:cubicBezTo>
                    <a:pt x="1719" y="989"/>
                    <a:pt x="1745" y="978"/>
                    <a:pt x="1764" y="960"/>
                  </a:cubicBezTo>
                  <a:cubicBezTo>
                    <a:pt x="1983" y="1078"/>
                    <a:pt x="1983" y="1078"/>
                    <a:pt x="1983" y="1078"/>
                  </a:cubicBezTo>
                  <a:cubicBezTo>
                    <a:pt x="1978" y="1092"/>
                    <a:pt x="1974" y="1107"/>
                    <a:pt x="1973" y="1123"/>
                  </a:cubicBezTo>
                  <a:cubicBezTo>
                    <a:pt x="1414" y="1123"/>
                    <a:pt x="1414" y="1123"/>
                    <a:pt x="1414" y="1123"/>
                  </a:cubicBezTo>
                  <a:cubicBezTo>
                    <a:pt x="1415" y="1128"/>
                    <a:pt x="1415" y="1133"/>
                    <a:pt x="1415" y="1138"/>
                  </a:cubicBezTo>
                  <a:cubicBezTo>
                    <a:pt x="1415" y="1143"/>
                    <a:pt x="1415" y="1148"/>
                    <a:pt x="1414" y="1153"/>
                  </a:cubicBezTo>
                  <a:cubicBezTo>
                    <a:pt x="1973" y="1153"/>
                    <a:pt x="1973" y="1153"/>
                    <a:pt x="1973" y="1153"/>
                  </a:cubicBezTo>
                  <a:cubicBezTo>
                    <a:pt x="1978" y="1193"/>
                    <a:pt x="1998" y="1229"/>
                    <a:pt x="2028" y="1253"/>
                  </a:cubicBezTo>
                  <a:lnTo>
                    <a:pt x="1940" y="1369"/>
                  </a:lnTo>
                  <a:close/>
                  <a:moveTo>
                    <a:pt x="1350" y="1031"/>
                  </a:moveTo>
                  <a:cubicBezTo>
                    <a:pt x="1348" y="1025"/>
                    <a:pt x="1345" y="1020"/>
                    <a:pt x="1343" y="1014"/>
                  </a:cubicBezTo>
                  <a:cubicBezTo>
                    <a:pt x="1330" y="985"/>
                    <a:pt x="1313" y="959"/>
                    <a:pt x="1292" y="936"/>
                  </a:cubicBezTo>
                  <a:cubicBezTo>
                    <a:pt x="1285" y="928"/>
                    <a:pt x="1278" y="921"/>
                    <a:pt x="1270" y="915"/>
                  </a:cubicBezTo>
                  <a:cubicBezTo>
                    <a:pt x="1247" y="894"/>
                    <a:pt x="1221" y="876"/>
                    <a:pt x="1192" y="863"/>
                  </a:cubicBezTo>
                  <a:cubicBezTo>
                    <a:pt x="1186" y="861"/>
                    <a:pt x="1181" y="858"/>
                    <a:pt x="1175" y="856"/>
                  </a:cubicBezTo>
                  <a:cubicBezTo>
                    <a:pt x="1147" y="845"/>
                    <a:pt x="1116" y="839"/>
                    <a:pt x="1083" y="837"/>
                  </a:cubicBezTo>
                  <a:cubicBezTo>
                    <a:pt x="1079" y="837"/>
                    <a:pt x="1073" y="837"/>
                    <a:pt x="1068" y="837"/>
                  </a:cubicBezTo>
                  <a:cubicBezTo>
                    <a:pt x="1063" y="837"/>
                    <a:pt x="1058" y="837"/>
                    <a:pt x="1053" y="837"/>
                  </a:cubicBezTo>
                  <a:cubicBezTo>
                    <a:pt x="1021" y="839"/>
                    <a:pt x="990" y="845"/>
                    <a:pt x="962" y="856"/>
                  </a:cubicBezTo>
                  <a:cubicBezTo>
                    <a:pt x="956" y="858"/>
                    <a:pt x="950" y="861"/>
                    <a:pt x="945" y="863"/>
                  </a:cubicBezTo>
                  <a:cubicBezTo>
                    <a:pt x="916" y="876"/>
                    <a:pt x="890" y="894"/>
                    <a:pt x="866" y="915"/>
                  </a:cubicBezTo>
                  <a:cubicBezTo>
                    <a:pt x="859" y="921"/>
                    <a:pt x="852" y="928"/>
                    <a:pt x="845" y="936"/>
                  </a:cubicBezTo>
                  <a:cubicBezTo>
                    <a:pt x="824" y="959"/>
                    <a:pt x="807" y="985"/>
                    <a:pt x="794" y="1014"/>
                  </a:cubicBezTo>
                  <a:cubicBezTo>
                    <a:pt x="791" y="1020"/>
                    <a:pt x="789" y="1025"/>
                    <a:pt x="787" y="1031"/>
                  </a:cubicBezTo>
                  <a:cubicBezTo>
                    <a:pt x="776" y="1060"/>
                    <a:pt x="769" y="1091"/>
                    <a:pt x="768" y="1123"/>
                  </a:cubicBezTo>
                  <a:cubicBezTo>
                    <a:pt x="767" y="1128"/>
                    <a:pt x="767" y="1133"/>
                    <a:pt x="767" y="1138"/>
                  </a:cubicBezTo>
                  <a:cubicBezTo>
                    <a:pt x="767" y="1143"/>
                    <a:pt x="767" y="1148"/>
                    <a:pt x="768" y="1153"/>
                  </a:cubicBezTo>
                  <a:cubicBezTo>
                    <a:pt x="769" y="1185"/>
                    <a:pt x="776" y="1216"/>
                    <a:pt x="787" y="1245"/>
                  </a:cubicBezTo>
                  <a:cubicBezTo>
                    <a:pt x="789" y="1250"/>
                    <a:pt x="791" y="1256"/>
                    <a:pt x="794" y="1261"/>
                  </a:cubicBezTo>
                  <a:cubicBezTo>
                    <a:pt x="807" y="1290"/>
                    <a:pt x="824" y="1317"/>
                    <a:pt x="845" y="1340"/>
                  </a:cubicBezTo>
                  <a:cubicBezTo>
                    <a:pt x="852" y="1347"/>
                    <a:pt x="859" y="1354"/>
                    <a:pt x="866" y="1361"/>
                  </a:cubicBezTo>
                  <a:cubicBezTo>
                    <a:pt x="890" y="1382"/>
                    <a:pt x="916" y="1399"/>
                    <a:pt x="945" y="1412"/>
                  </a:cubicBezTo>
                  <a:cubicBezTo>
                    <a:pt x="950" y="1415"/>
                    <a:pt x="956" y="1417"/>
                    <a:pt x="962" y="1419"/>
                  </a:cubicBezTo>
                  <a:cubicBezTo>
                    <a:pt x="990" y="1430"/>
                    <a:pt x="1021" y="1437"/>
                    <a:pt x="1053" y="1439"/>
                  </a:cubicBezTo>
                  <a:cubicBezTo>
                    <a:pt x="1058" y="1439"/>
                    <a:pt x="1063" y="1439"/>
                    <a:pt x="1068" y="1439"/>
                  </a:cubicBezTo>
                  <a:cubicBezTo>
                    <a:pt x="1073" y="1439"/>
                    <a:pt x="1079" y="1439"/>
                    <a:pt x="1083" y="1439"/>
                  </a:cubicBezTo>
                  <a:cubicBezTo>
                    <a:pt x="1116" y="1437"/>
                    <a:pt x="1147" y="1430"/>
                    <a:pt x="1175" y="1419"/>
                  </a:cubicBezTo>
                  <a:cubicBezTo>
                    <a:pt x="1181" y="1417"/>
                    <a:pt x="1186" y="1415"/>
                    <a:pt x="1192" y="1412"/>
                  </a:cubicBezTo>
                  <a:cubicBezTo>
                    <a:pt x="1221" y="1399"/>
                    <a:pt x="1247" y="1382"/>
                    <a:pt x="1270" y="1361"/>
                  </a:cubicBezTo>
                  <a:cubicBezTo>
                    <a:pt x="1278" y="1354"/>
                    <a:pt x="1285" y="1347"/>
                    <a:pt x="1292" y="1340"/>
                  </a:cubicBezTo>
                  <a:cubicBezTo>
                    <a:pt x="1313" y="1317"/>
                    <a:pt x="1330" y="1290"/>
                    <a:pt x="1343" y="1261"/>
                  </a:cubicBezTo>
                  <a:cubicBezTo>
                    <a:pt x="1345" y="1256"/>
                    <a:pt x="1348" y="1250"/>
                    <a:pt x="1350" y="1245"/>
                  </a:cubicBezTo>
                  <a:cubicBezTo>
                    <a:pt x="1361" y="1216"/>
                    <a:pt x="1368" y="1185"/>
                    <a:pt x="1369" y="1153"/>
                  </a:cubicBezTo>
                  <a:cubicBezTo>
                    <a:pt x="1369" y="1148"/>
                    <a:pt x="1370" y="1143"/>
                    <a:pt x="1370" y="1138"/>
                  </a:cubicBezTo>
                  <a:cubicBezTo>
                    <a:pt x="1370" y="1133"/>
                    <a:pt x="1369" y="1128"/>
                    <a:pt x="1369" y="1123"/>
                  </a:cubicBezTo>
                  <a:cubicBezTo>
                    <a:pt x="1368" y="1091"/>
                    <a:pt x="1361" y="1060"/>
                    <a:pt x="1350" y="10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9" name="Group 8"/>
          <p:cNvGrpSpPr/>
          <p:nvPr userDrawn="1"/>
        </p:nvGrpSpPr>
        <p:grpSpPr>
          <a:xfrm>
            <a:off x="4589646" y="560238"/>
            <a:ext cx="3040219" cy="355306"/>
            <a:chOff x="4591439" y="627839"/>
            <a:chExt cx="3041407" cy="355224"/>
          </a:xfrm>
        </p:grpSpPr>
        <p:sp>
          <p:nvSpPr>
            <p:cNvPr id="57" name="Rectangle 56"/>
            <p:cNvSpPr/>
            <p:nvPr userDrawn="1"/>
          </p:nvSpPr>
          <p:spPr bwMode="auto">
            <a:xfrm>
              <a:off x="4591439" y="627839"/>
              <a:ext cx="3041407" cy="35522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My Work </a:t>
              </a:r>
            </a:p>
          </p:txBody>
        </p:sp>
        <p:sp>
          <p:nvSpPr>
            <p:cNvPr id="105" name="Freeform 81"/>
            <p:cNvSpPr>
              <a:spLocks noChangeAspect="1"/>
            </p:cNvSpPr>
            <p:nvPr userDrawn="1"/>
          </p:nvSpPr>
          <p:spPr bwMode="black">
            <a:xfrm>
              <a:off x="4654201" y="668056"/>
              <a:ext cx="188207" cy="256267"/>
            </a:xfrm>
            <a:custGeom>
              <a:avLst/>
              <a:gdLst>
                <a:gd name="T0" fmla="*/ 230 w 256"/>
                <a:gd name="T1" fmla="*/ 221 h 349"/>
                <a:gd name="T2" fmla="*/ 256 w 256"/>
                <a:gd name="T3" fmla="*/ 202 h 349"/>
                <a:gd name="T4" fmla="*/ 232 w 256"/>
                <a:gd name="T5" fmla="*/ 184 h 349"/>
                <a:gd name="T6" fmla="*/ 239 w 256"/>
                <a:gd name="T7" fmla="*/ 170 h 349"/>
                <a:gd name="T8" fmla="*/ 217 w 256"/>
                <a:gd name="T9" fmla="*/ 152 h 349"/>
                <a:gd name="T10" fmla="*/ 187 w 256"/>
                <a:gd name="T11" fmla="*/ 152 h 349"/>
                <a:gd name="T12" fmla="*/ 187 w 256"/>
                <a:gd name="T13" fmla="*/ 91 h 349"/>
                <a:gd name="T14" fmla="*/ 217 w 256"/>
                <a:gd name="T15" fmla="*/ 45 h 349"/>
                <a:gd name="T16" fmla="*/ 203 w 256"/>
                <a:gd name="T17" fmla="*/ 10 h 349"/>
                <a:gd name="T18" fmla="*/ 166 w 256"/>
                <a:gd name="T19" fmla="*/ 58 h 349"/>
                <a:gd name="T20" fmla="*/ 130 w 256"/>
                <a:gd name="T21" fmla="*/ 10 h 349"/>
                <a:gd name="T22" fmla="*/ 116 w 256"/>
                <a:gd name="T23" fmla="*/ 45 h 349"/>
                <a:gd name="T24" fmla="*/ 146 w 256"/>
                <a:gd name="T25" fmla="*/ 91 h 349"/>
                <a:gd name="T26" fmla="*/ 146 w 256"/>
                <a:gd name="T27" fmla="*/ 121 h 349"/>
                <a:gd name="T28" fmla="*/ 143 w 256"/>
                <a:gd name="T29" fmla="*/ 119 h 349"/>
                <a:gd name="T30" fmla="*/ 99 w 256"/>
                <a:gd name="T31" fmla="*/ 126 h 349"/>
                <a:gd name="T32" fmla="*/ 45 w 256"/>
                <a:gd name="T33" fmla="*/ 162 h 349"/>
                <a:gd name="T34" fmla="*/ 0 w 256"/>
                <a:gd name="T35" fmla="*/ 162 h 349"/>
                <a:gd name="T36" fmla="*/ 0 w 256"/>
                <a:gd name="T37" fmla="*/ 272 h 349"/>
                <a:gd name="T38" fmla="*/ 70 w 256"/>
                <a:gd name="T39" fmla="*/ 277 h 349"/>
                <a:gd name="T40" fmla="*/ 132 w 256"/>
                <a:gd name="T41" fmla="*/ 286 h 349"/>
                <a:gd name="T42" fmla="*/ 127 w 256"/>
                <a:gd name="T43" fmla="*/ 273 h 349"/>
                <a:gd name="T44" fmla="*/ 139 w 256"/>
                <a:gd name="T45" fmla="*/ 255 h 349"/>
                <a:gd name="T46" fmla="*/ 125 w 256"/>
                <a:gd name="T47" fmla="*/ 237 h 349"/>
                <a:gd name="T48" fmla="*/ 140 w 256"/>
                <a:gd name="T49" fmla="*/ 219 h 349"/>
                <a:gd name="T50" fmla="*/ 125 w 256"/>
                <a:gd name="T51" fmla="*/ 201 h 349"/>
                <a:gd name="T52" fmla="*/ 138 w 256"/>
                <a:gd name="T53" fmla="*/ 185 h 349"/>
                <a:gd name="T54" fmla="*/ 125 w 256"/>
                <a:gd name="T55" fmla="*/ 167 h 349"/>
                <a:gd name="T56" fmla="*/ 146 w 256"/>
                <a:gd name="T57" fmla="*/ 148 h 349"/>
                <a:gd name="T58" fmla="*/ 146 w 256"/>
                <a:gd name="T59" fmla="*/ 155 h 349"/>
                <a:gd name="T60" fmla="*/ 137 w 256"/>
                <a:gd name="T61" fmla="*/ 170 h 349"/>
                <a:gd name="T62" fmla="*/ 146 w 256"/>
                <a:gd name="T63" fmla="*/ 185 h 349"/>
                <a:gd name="T64" fmla="*/ 146 w 256"/>
                <a:gd name="T65" fmla="*/ 188 h 349"/>
                <a:gd name="T66" fmla="*/ 137 w 256"/>
                <a:gd name="T67" fmla="*/ 202 h 349"/>
                <a:gd name="T68" fmla="*/ 146 w 256"/>
                <a:gd name="T69" fmla="*/ 216 h 349"/>
                <a:gd name="T70" fmla="*/ 146 w 256"/>
                <a:gd name="T71" fmla="*/ 224 h 349"/>
                <a:gd name="T72" fmla="*/ 137 w 256"/>
                <a:gd name="T73" fmla="*/ 239 h 349"/>
                <a:gd name="T74" fmla="*/ 146 w 256"/>
                <a:gd name="T75" fmla="*/ 254 h 349"/>
                <a:gd name="T76" fmla="*/ 146 w 256"/>
                <a:gd name="T77" fmla="*/ 261 h 349"/>
                <a:gd name="T78" fmla="*/ 139 w 256"/>
                <a:gd name="T79" fmla="*/ 276 h 349"/>
                <a:gd name="T80" fmla="*/ 146 w 256"/>
                <a:gd name="T81" fmla="*/ 291 h 349"/>
                <a:gd name="T82" fmla="*/ 146 w 256"/>
                <a:gd name="T83" fmla="*/ 324 h 349"/>
                <a:gd name="T84" fmla="*/ 167 w 256"/>
                <a:gd name="T85" fmla="*/ 349 h 349"/>
                <a:gd name="T86" fmla="*/ 187 w 256"/>
                <a:gd name="T87" fmla="*/ 324 h 349"/>
                <a:gd name="T88" fmla="*/ 187 w 256"/>
                <a:gd name="T89" fmla="*/ 294 h 349"/>
                <a:gd name="T90" fmla="*/ 207 w 256"/>
                <a:gd name="T91" fmla="*/ 294 h 349"/>
                <a:gd name="T92" fmla="*/ 226 w 256"/>
                <a:gd name="T93" fmla="*/ 276 h 349"/>
                <a:gd name="T94" fmla="*/ 207 w 256"/>
                <a:gd name="T95" fmla="*/ 257 h 349"/>
                <a:gd name="T96" fmla="*/ 187 w 256"/>
                <a:gd name="T97" fmla="*/ 257 h 349"/>
                <a:gd name="T98" fmla="*/ 187 w 256"/>
                <a:gd name="T99" fmla="*/ 257 h 349"/>
                <a:gd name="T100" fmla="*/ 217 w 256"/>
                <a:gd name="T101" fmla="*/ 257 h 349"/>
                <a:gd name="T102" fmla="*/ 239 w 256"/>
                <a:gd name="T103" fmla="*/ 239 h 349"/>
                <a:gd name="T104" fmla="*/ 217 w 256"/>
                <a:gd name="T105" fmla="*/ 221 h 349"/>
                <a:gd name="T106" fmla="*/ 187 w 256"/>
                <a:gd name="T107" fmla="*/ 221 h 349"/>
                <a:gd name="T108" fmla="*/ 187 w 256"/>
                <a:gd name="T109" fmla="*/ 221 h 349"/>
                <a:gd name="T110" fmla="*/ 230 w 256"/>
                <a:gd name="T111" fmla="*/ 221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6" h="349">
                  <a:moveTo>
                    <a:pt x="230" y="221"/>
                  </a:moveTo>
                  <a:cubicBezTo>
                    <a:pt x="245" y="221"/>
                    <a:pt x="256" y="212"/>
                    <a:pt x="256" y="202"/>
                  </a:cubicBezTo>
                  <a:cubicBezTo>
                    <a:pt x="256" y="192"/>
                    <a:pt x="245" y="184"/>
                    <a:pt x="232" y="184"/>
                  </a:cubicBezTo>
                  <a:cubicBezTo>
                    <a:pt x="236" y="180"/>
                    <a:pt x="239" y="175"/>
                    <a:pt x="239" y="170"/>
                  </a:cubicBezTo>
                  <a:cubicBezTo>
                    <a:pt x="239" y="160"/>
                    <a:pt x="229" y="152"/>
                    <a:pt x="217" y="152"/>
                  </a:cubicBezTo>
                  <a:cubicBezTo>
                    <a:pt x="187" y="152"/>
                    <a:pt x="187" y="152"/>
                    <a:pt x="187" y="152"/>
                  </a:cubicBezTo>
                  <a:cubicBezTo>
                    <a:pt x="187" y="91"/>
                    <a:pt x="187" y="91"/>
                    <a:pt x="187" y="91"/>
                  </a:cubicBezTo>
                  <a:cubicBezTo>
                    <a:pt x="205" y="83"/>
                    <a:pt x="217" y="66"/>
                    <a:pt x="217" y="45"/>
                  </a:cubicBezTo>
                  <a:cubicBezTo>
                    <a:pt x="217" y="31"/>
                    <a:pt x="203" y="0"/>
                    <a:pt x="203" y="10"/>
                  </a:cubicBezTo>
                  <a:cubicBezTo>
                    <a:pt x="204" y="24"/>
                    <a:pt x="195" y="58"/>
                    <a:pt x="166" y="58"/>
                  </a:cubicBezTo>
                  <a:cubicBezTo>
                    <a:pt x="140" y="58"/>
                    <a:pt x="129" y="30"/>
                    <a:pt x="130" y="10"/>
                  </a:cubicBezTo>
                  <a:cubicBezTo>
                    <a:pt x="130" y="3"/>
                    <a:pt x="116" y="32"/>
                    <a:pt x="116" y="45"/>
                  </a:cubicBezTo>
                  <a:cubicBezTo>
                    <a:pt x="116" y="66"/>
                    <a:pt x="129" y="84"/>
                    <a:pt x="146" y="91"/>
                  </a:cubicBezTo>
                  <a:cubicBezTo>
                    <a:pt x="146" y="121"/>
                    <a:pt x="146" y="121"/>
                    <a:pt x="146" y="121"/>
                  </a:cubicBezTo>
                  <a:cubicBezTo>
                    <a:pt x="143" y="119"/>
                    <a:pt x="143" y="119"/>
                    <a:pt x="143" y="119"/>
                  </a:cubicBezTo>
                  <a:cubicBezTo>
                    <a:pt x="143" y="119"/>
                    <a:pt x="110" y="122"/>
                    <a:pt x="99" y="126"/>
                  </a:cubicBezTo>
                  <a:cubicBezTo>
                    <a:pt x="87" y="131"/>
                    <a:pt x="63" y="162"/>
                    <a:pt x="45" y="162"/>
                  </a:cubicBezTo>
                  <a:cubicBezTo>
                    <a:pt x="26" y="162"/>
                    <a:pt x="0" y="162"/>
                    <a:pt x="0" y="162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0" y="272"/>
                    <a:pt x="47" y="272"/>
                    <a:pt x="70" y="277"/>
                  </a:cubicBezTo>
                  <a:cubicBezTo>
                    <a:pt x="86" y="280"/>
                    <a:pt x="110" y="284"/>
                    <a:pt x="132" y="286"/>
                  </a:cubicBezTo>
                  <a:cubicBezTo>
                    <a:pt x="129" y="283"/>
                    <a:pt x="127" y="278"/>
                    <a:pt x="127" y="273"/>
                  </a:cubicBezTo>
                  <a:cubicBezTo>
                    <a:pt x="127" y="265"/>
                    <a:pt x="132" y="258"/>
                    <a:pt x="139" y="255"/>
                  </a:cubicBezTo>
                  <a:cubicBezTo>
                    <a:pt x="131" y="252"/>
                    <a:pt x="125" y="245"/>
                    <a:pt x="125" y="237"/>
                  </a:cubicBezTo>
                  <a:cubicBezTo>
                    <a:pt x="125" y="229"/>
                    <a:pt x="131" y="222"/>
                    <a:pt x="140" y="219"/>
                  </a:cubicBezTo>
                  <a:cubicBezTo>
                    <a:pt x="131" y="216"/>
                    <a:pt x="125" y="209"/>
                    <a:pt x="125" y="201"/>
                  </a:cubicBezTo>
                  <a:cubicBezTo>
                    <a:pt x="125" y="194"/>
                    <a:pt x="130" y="188"/>
                    <a:pt x="138" y="185"/>
                  </a:cubicBezTo>
                  <a:cubicBezTo>
                    <a:pt x="130" y="182"/>
                    <a:pt x="125" y="175"/>
                    <a:pt x="125" y="167"/>
                  </a:cubicBezTo>
                  <a:cubicBezTo>
                    <a:pt x="125" y="157"/>
                    <a:pt x="135" y="148"/>
                    <a:pt x="146" y="148"/>
                  </a:cubicBezTo>
                  <a:cubicBezTo>
                    <a:pt x="146" y="155"/>
                    <a:pt x="146" y="155"/>
                    <a:pt x="146" y="155"/>
                  </a:cubicBezTo>
                  <a:cubicBezTo>
                    <a:pt x="141" y="158"/>
                    <a:pt x="137" y="164"/>
                    <a:pt x="137" y="170"/>
                  </a:cubicBezTo>
                  <a:cubicBezTo>
                    <a:pt x="137" y="176"/>
                    <a:pt x="141" y="182"/>
                    <a:pt x="146" y="185"/>
                  </a:cubicBezTo>
                  <a:cubicBezTo>
                    <a:pt x="146" y="188"/>
                    <a:pt x="146" y="188"/>
                    <a:pt x="146" y="188"/>
                  </a:cubicBezTo>
                  <a:cubicBezTo>
                    <a:pt x="141" y="191"/>
                    <a:pt x="137" y="196"/>
                    <a:pt x="137" y="202"/>
                  </a:cubicBezTo>
                  <a:cubicBezTo>
                    <a:pt x="137" y="208"/>
                    <a:pt x="141" y="213"/>
                    <a:pt x="146" y="216"/>
                  </a:cubicBezTo>
                  <a:cubicBezTo>
                    <a:pt x="146" y="224"/>
                    <a:pt x="146" y="224"/>
                    <a:pt x="146" y="224"/>
                  </a:cubicBezTo>
                  <a:cubicBezTo>
                    <a:pt x="141" y="227"/>
                    <a:pt x="137" y="233"/>
                    <a:pt x="137" y="239"/>
                  </a:cubicBezTo>
                  <a:cubicBezTo>
                    <a:pt x="137" y="245"/>
                    <a:pt x="141" y="251"/>
                    <a:pt x="146" y="254"/>
                  </a:cubicBezTo>
                  <a:cubicBezTo>
                    <a:pt x="146" y="261"/>
                    <a:pt x="146" y="261"/>
                    <a:pt x="146" y="261"/>
                  </a:cubicBezTo>
                  <a:cubicBezTo>
                    <a:pt x="142" y="264"/>
                    <a:pt x="139" y="270"/>
                    <a:pt x="139" y="276"/>
                  </a:cubicBezTo>
                  <a:cubicBezTo>
                    <a:pt x="139" y="282"/>
                    <a:pt x="142" y="287"/>
                    <a:pt x="146" y="291"/>
                  </a:cubicBezTo>
                  <a:cubicBezTo>
                    <a:pt x="146" y="324"/>
                    <a:pt x="146" y="324"/>
                    <a:pt x="146" y="324"/>
                  </a:cubicBezTo>
                  <a:cubicBezTo>
                    <a:pt x="146" y="338"/>
                    <a:pt x="156" y="349"/>
                    <a:pt x="167" y="349"/>
                  </a:cubicBezTo>
                  <a:cubicBezTo>
                    <a:pt x="178" y="349"/>
                    <a:pt x="187" y="338"/>
                    <a:pt x="187" y="324"/>
                  </a:cubicBezTo>
                  <a:cubicBezTo>
                    <a:pt x="187" y="294"/>
                    <a:pt x="187" y="294"/>
                    <a:pt x="187" y="294"/>
                  </a:cubicBezTo>
                  <a:cubicBezTo>
                    <a:pt x="207" y="294"/>
                    <a:pt x="207" y="294"/>
                    <a:pt x="207" y="294"/>
                  </a:cubicBezTo>
                  <a:cubicBezTo>
                    <a:pt x="217" y="294"/>
                    <a:pt x="226" y="286"/>
                    <a:pt x="226" y="276"/>
                  </a:cubicBezTo>
                  <a:cubicBezTo>
                    <a:pt x="226" y="266"/>
                    <a:pt x="217" y="257"/>
                    <a:pt x="207" y="257"/>
                  </a:cubicBezTo>
                  <a:cubicBezTo>
                    <a:pt x="187" y="257"/>
                    <a:pt x="187" y="257"/>
                    <a:pt x="187" y="257"/>
                  </a:cubicBezTo>
                  <a:cubicBezTo>
                    <a:pt x="187" y="257"/>
                    <a:pt x="187" y="257"/>
                    <a:pt x="187" y="257"/>
                  </a:cubicBezTo>
                  <a:cubicBezTo>
                    <a:pt x="217" y="257"/>
                    <a:pt x="217" y="257"/>
                    <a:pt x="217" y="257"/>
                  </a:cubicBezTo>
                  <a:cubicBezTo>
                    <a:pt x="229" y="257"/>
                    <a:pt x="239" y="249"/>
                    <a:pt x="239" y="239"/>
                  </a:cubicBezTo>
                  <a:cubicBezTo>
                    <a:pt x="239" y="229"/>
                    <a:pt x="229" y="221"/>
                    <a:pt x="217" y="221"/>
                  </a:cubicBezTo>
                  <a:cubicBezTo>
                    <a:pt x="187" y="221"/>
                    <a:pt x="187" y="221"/>
                    <a:pt x="187" y="221"/>
                  </a:cubicBezTo>
                  <a:cubicBezTo>
                    <a:pt x="187" y="221"/>
                    <a:pt x="187" y="221"/>
                    <a:pt x="187" y="221"/>
                  </a:cubicBezTo>
                  <a:lnTo>
                    <a:pt x="230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9" name="Group 18"/>
          <p:cNvGrpSpPr/>
          <p:nvPr userDrawn="1"/>
        </p:nvGrpSpPr>
        <p:grpSpPr>
          <a:xfrm>
            <a:off x="4589646" y="4496100"/>
            <a:ext cx="3040219" cy="355306"/>
            <a:chOff x="4591439" y="4583109"/>
            <a:chExt cx="3041407" cy="355224"/>
          </a:xfrm>
        </p:grpSpPr>
        <p:sp>
          <p:nvSpPr>
            <p:cNvPr id="86" name="Rectangle 85"/>
            <p:cNvSpPr/>
            <p:nvPr userDrawn="1"/>
          </p:nvSpPr>
          <p:spPr bwMode="auto">
            <a:xfrm>
              <a:off x="4591439" y="4583109"/>
              <a:ext cx="3041407" cy="35522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My Content</a:t>
              </a:r>
            </a:p>
          </p:txBody>
        </p:sp>
        <p:sp>
          <p:nvSpPr>
            <p:cNvPr id="106" name="Freeform 128"/>
            <p:cNvSpPr>
              <a:spLocks noChangeAspect="1" noEditPoints="1"/>
            </p:cNvSpPr>
            <p:nvPr userDrawn="1"/>
          </p:nvSpPr>
          <p:spPr bwMode="black">
            <a:xfrm>
              <a:off x="4654201" y="4595830"/>
              <a:ext cx="274320" cy="241494"/>
            </a:xfrm>
            <a:custGeom>
              <a:avLst/>
              <a:gdLst>
                <a:gd name="T0" fmla="*/ 49 w 71"/>
                <a:gd name="T1" fmla="*/ 21 h 62"/>
                <a:gd name="T2" fmla="*/ 49 w 71"/>
                <a:gd name="T3" fmla="*/ 19 h 62"/>
                <a:gd name="T4" fmla="*/ 49 w 71"/>
                <a:gd name="T5" fmla="*/ 19 h 62"/>
                <a:gd name="T6" fmla="*/ 48 w 71"/>
                <a:gd name="T7" fmla="*/ 17 h 62"/>
                <a:gd name="T8" fmla="*/ 32 w 71"/>
                <a:gd name="T9" fmla="*/ 2 h 62"/>
                <a:gd name="T10" fmla="*/ 28 w 71"/>
                <a:gd name="T11" fmla="*/ 0 h 62"/>
                <a:gd name="T12" fmla="*/ 28 w 71"/>
                <a:gd name="T13" fmla="*/ 0 h 62"/>
                <a:gd name="T14" fmla="*/ 28 w 71"/>
                <a:gd name="T15" fmla="*/ 0 h 62"/>
                <a:gd name="T16" fmla="*/ 6 w 71"/>
                <a:gd name="T17" fmla="*/ 0 h 62"/>
                <a:gd name="T18" fmla="*/ 0 w 71"/>
                <a:gd name="T19" fmla="*/ 5 h 62"/>
                <a:gd name="T20" fmla="*/ 0 w 71"/>
                <a:gd name="T21" fmla="*/ 56 h 62"/>
                <a:gd name="T22" fmla="*/ 6 w 71"/>
                <a:gd name="T23" fmla="*/ 62 h 62"/>
                <a:gd name="T24" fmla="*/ 44 w 71"/>
                <a:gd name="T25" fmla="*/ 62 h 62"/>
                <a:gd name="T26" fmla="*/ 50 w 71"/>
                <a:gd name="T27" fmla="*/ 56 h 62"/>
                <a:gd name="T28" fmla="*/ 50 w 71"/>
                <a:gd name="T29" fmla="*/ 21 h 62"/>
                <a:gd name="T30" fmla="*/ 49 w 71"/>
                <a:gd name="T31" fmla="*/ 21 h 62"/>
                <a:gd name="T32" fmla="*/ 28 w 71"/>
                <a:gd name="T33" fmla="*/ 5 h 62"/>
                <a:gd name="T34" fmla="*/ 44 w 71"/>
                <a:gd name="T35" fmla="*/ 21 h 62"/>
                <a:gd name="T36" fmla="*/ 28 w 71"/>
                <a:gd name="T37" fmla="*/ 21 h 62"/>
                <a:gd name="T38" fmla="*/ 28 w 71"/>
                <a:gd name="T39" fmla="*/ 5 h 62"/>
                <a:gd name="T40" fmla="*/ 44 w 71"/>
                <a:gd name="T41" fmla="*/ 56 h 62"/>
                <a:gd name="T42" fmla="*/ 6 w 71"/>
                <a:gd name="T43" fmla="*/ 56 h 62"/>
                <a:gd name="T44" fmla="*/ 6 w 71"/>
                <a:gd name="T45" fmla="*/ 5 h 62"/>
                <a:gd name="T46" fmla="*/ 23 w 71"/>
                <a:gd name="T47" fmla="*/ 5 h 62"/>
                <a:gd name="T48" fmla="*/ 23 w 71"/>
                <a:gd name="T49" fmla="*/ 21 h 62"/>
                <a:gd name="T50" fmla="*/ 28 w 71"/>
                <a:gd name="T51" fmla="*/ 27 h 62"/>
                <a:gd name="T52" fmla="*/ 44 w 71"/>
                <a:gd name="T53" fmla="*/ 27 h 62"/>
                <a:gd name="T54" fmla="*/ 44 w 71"/>
                <a:gd name="T55" fmla="*/ 56 h 62"/>
                <a:gd name="T56" fmla="*/ 58 w 71"/>
                <a:gd name="T57" fmla="*/ 14 h 62"/>
                <a:gd name="T58" fmla="*/ 60 w 71"/>
                <a:gd name="T59" fmla="*/ 19 h 62"/>
                <a:gd name="T60" fmla="*/ 60 w 71"/>
                <a:gd name="T61" fmla="*/ 56 h 62"/>
                <a:gd name="T62" fmla="*/ 55 w 71"/>
                <a:gd name="T63" fmla="*/ 62 h 62"/>
                <a:gd name="T64" fmla="*/ 53 w 71"/>
                <a:gd name="T65" fmla="*/ 62 h 62"/>
                <a:gd name="T66" fmla="*/ 55 w 71"/>
                <a:gd name="T67" fmla="*/ 57 h 62"/>
                <a:gd name="T68" fmla="*/ 55 w 71"/>
                <a:gd name="T69" fmla="*/ 21 h 62"/>
                <a:gd name="T70" fmla="*/ 53 w 71"/>
                <a:gd name="T71" fmla="*/ 15 h 62"/>
                <a:gd name="T72" fmla="*/ 37 w 71"/>
                <a:gd name="T73" fmla="*/ 0 h 62"/>
                <a:gd name="T74" fmla="*/ 37 w 71"/>
                <a:gd name="T75" fmla="*/ 0 h 62"/>
                <a:gd name="T76" fmla="*/ 39 w 71"/>
                <a:gd name="T77" fmla="*/ 0 h 62"/>
                <a:gd name="T78" fmla="*/ 40 w 71"/>
                <a:gd name="T79" fmla="*/ 0 h 62"/>
                <a:gd name="T80" fmla="*/ 47 w 71"/>
                <a:gd name="T81" fmla="*/ 3 h 62"/>
                <a:gd name="T82" fmla="*/ 58 w 71"/>
                <a:gd name="T83" fmla="*/ 14 h 62"/>
                <a:gd name="T84" fmla="*/ 69 w 71"/>
                <a:gd name="T85" fmla="*/ 13 h 62"/>
                <a:gd name="T86" fmla="*/ 71 w 71"/>
                <a:gd name="T87" fmla="*/ 17 h 62"/>
                <a:gd name="T88" fmla="*/ 71 w 71"/>
                <a:gd name="T89" fmla="*/ 56 h 62"/>
                <a:gd name="T90" fmla="*/ 65 w 71"/>
                <a:gd name="T91" fmla="*/ 62 h 62"/>
                <a:gd name="T92" fmla="*/ 64 w 71"/>
                <a:gd name="T93" fmla="*/ 62 h 62"/>
                <a:gd name="T94" fmla="*/ 65 w 71"/>
                <a:gd name="T95" fmla="*/ 57 h 62"/>
                <a:gd name="T96" fmla="*/ 65 w 71"/>
                <a:gd name="T97" fmla="*/ 18 h 62"/>
                <a:gd name="T98" fmla="*/ 64 w 71"/>
                <a:gd name="T99" fmla="*/ 14 h 62"/>
                <a:gd name="T100" fmla="*/ 50 w 71"/>
                <a:gd name="T101" fmla="*/ 0 h 62"/>
                <a:gd name="T102" fmla="*/ 50 w 71"/>
                <a:gd name="T103" fmla="*/ 0 h 62"/>
                <a:gd name="T104" fmla="*/ 51 w 71"/>
                <a:gd name="T105" fmla="*/ 0 h 62"/>
                <a:gd name="T106" fmla="*/ 52 w 71"/>
                <a:gd name="T107" fmla="*/ 0 h 62"/>
                <a:gd name="T108" fmla="*/ 59 w 71"/>
                <a:gd name="T109" fmla="*/ 3 h 62"/>
                <a:gd name="T110" fmla="*/ 69 w 71"/>
                <a:gd name="T111" fmla="*/ 1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1" h="62">
                  <a:moveTo>
                    <a:pt x="49" y="21"/>
                  </a:moveTo>
                  <a:cubicBezTo>
                    <a:pt x="49" y="20"/>
                    <a:pt x="49" y="20"/>
                    <a:pt x="49" y="19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49" y="18"/>
                    <a:pt x="48" y="18"/>
                    <a:pt x="48" y="17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0"/>
                    <a:pt x="30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9"/>
                    <a:pt x="3" y="62"/>
                    <a:pt x="6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7" y="62"/>
                    <a:pt x="50" y="59"/>
                    <a:pt x="50" y="56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1"/>
                    <a:pt x="49" y="21"/>
                    <a:pt x="49" y="21"/>
                  </a:cubicBezTo>
                  <a:close/>
                  <a:moveTo>
                    <a:pt x="28" y="5"/>
                  </a:moveTo>
                  <a:cubicBezTo>
                    <a:pt x="44" y="21"/>
                    <a:pt x="44" y="21"/>
                    <a:pt x="44" y="21"/>
                  </a:cubicBezTo>
                  <a:cubicBezTo>
                    <a:pt x="28" y="21"/>
                    <a:pt x="28" y="21"/>
                    <a:pt x="28" y="21"/>
                  </a:cubicBezTo>
                  <a:lnTo>
                    <a:pt x="28" y="5"/>
                  </a:lnTo>
                  <a:close/>
                  <a:moveTo>
                    <a:pt x="44" y="56"/>
                  </a:moveTo>
                  <a:cubicBezTo>
                    <a:pt x="6" y="56"/>
                    <a:pt x="6" y="56"/>
                    <a:pt x="6" y="5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4"/>
                    <a:pt x="25" y="27"/>
                    <a:pt x="28" y="27"/>
                  </a:cubicBezTo>
                  <a:cubicBezTo>
                    <a:pt x="44" y="27"/>
                    <a:pt x="44" y="27"/>
                    <a:pt x="44" y="27"/>
                  </a:cubicBezTo>
                  <a:lnTo>
                    <a:pt x="44" y="56"/>
                  </a:lnTo>
                  <a:close/>
                  <a:moveTo>
                    <a:pt x="58" y="14"/>
                  </a:moveTo>
                  <a:cubicBezTo>
                    <a:pt x="59" y="15"/>
                    <a:pt x="60" y="17"/>
                    <a:pt x="60" y="19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9"/>
                    <a:pt x="58" y="62"/>
                    <a:pt x="55" y="62"/>
                  </a:cubicBezTo>
                  <a:cubicBezTo>
                    <a:pt x="53" y="62"/>
                    <a:pt x="53" y="62"/>
                    <a:pt x="53" y="62"/>
                  </a:cubicBezTo>
                  <a:cubicBezTo>
                    <a:pt x="54" y="60"/>
                    <a:pt x="55" y="59"/>
                    <a:pt x="55" y="57"/>
                  </a:cubicBezTo>
                  <a:cubicBezTo>
                    <a:pt x="55" y="21"/>
                    <a:pt x="55" y="21"/>
                    <a:pt x="55" y="21"/>
                  </a:cubicBezTo>
                  <a:cubicBezTo>
                    <a:pt x="55" y="19"/>
                    <a:pt x="54" y="17"/>
                    <a:pt x="53" y="15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1" y="0"/>
                    <a:pt x="44" y="0"/>
                    <a:pt x="47" y="3"/>
                  </a:cubicBezTo>
                  <a:cubicBezTo>
                    <a:pt x="58" y="14"/>
                    <a:pt x="58" y="14"/>
                    <a:pt x="58" y="14"/>
                  </a:cubicBezTo>
                  <a:moveTo>
                    <a:pt x="69" y="13"/>
                  </a:moveTo>
                  <a:cubicBezTo>
                    <a:pt x="70" y="14"/>
                    <a:pt x="71" y="16"/>
                    <a:pt x="71" y="17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9"/>
                    <a:pt x="68" y="62"/>
                    <a:pt x="65" y="62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5" y="60"/>
                    <a:pt x="65" y="59"/>
                    <a:pt x="65" y="57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5" y="17"/>
                    <a:pt x="65" y="15"/>
                    <a:pt x="64" y="14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4" y="0"/>
                    <a:pt x="56" y="0"/>
                    <a:pt x="59" y="3"/>
                  </a:cubicBezTo>
                  <a:cubicBezTo>
                    <a:pt x="69" y="13"/>
                    <a:pt x="69" y="13"/>
                    <a:pt x="69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1" name="Group 20"/>
          <p:cNvGrpSpPr/>
          <p:nvPr userDrawn="1"/>
        </p:nvGrpSpPr>
        <p:grpSpPr>
          <a:xfrm>
            <a:off x="4589646" y="6125542"/>
            <a:ext cx="3040219" cy="355306"/>
            <a:chOff x="4591439" y="6097033"/>
            <a:chExt cx="3041407" cy="355224"/>
          </a:xfrm>
        </p:grpSpPr>
        <p:sp>
          <p:nvSpPr>
            <p:cNvPr id="61" name="Rectangle 60"/>
            <p:cNvSpPr/>
            <p:nvPr userDrawn="1"/>
          </p:nvSpPr>
          <p:spPr bwMode="auto">
            <a:xfrm>
              <a:off x="4591439" y="6097033"/>
              <a:ext cx="3041407" cy="35522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My Applications</a:t>
              </a:r>
            </a:p>
          </p:txBody>
        </p:sp>
        <p:sp>
          <p:nvSpPr>
            <p:cNvPr id="62" name="Freeform 128"/>
            <p:cNvSpPr>
              <a:spLocks noChangeAspect="1" noEditPoints="1"/>
            </p:cNvSpPr>
            <p:nvPr userDrawn="1"/>
          </p:nvSpPr>
          <p:spPr bwMode="black">
            <a:xfrm>
              <a:off x="4654201" y="6109456"/>
              <a:ext cx="274320" cy="241494"/>
            </a:xfrm>
            <a:custGeom>
              <a:avLst/>
              <a:gdLst>
                <a:gd name="T0" fmla="*/ 49 w 71"/>
                <a:gd name="T1" fmla="*/ 21 h 62"/>
                <a:gd name="T2" fmla="*/ 49 w 71"/>
                <a:gd name="T3" fmla="*/ 19 h 62"/>
                <a:gd name="T4" fmla="*/ 49 w 71"/>
                <a:gd name="T5" fmla="*/ 19 h 62"/>
                <a:gd name="T6" fmla="*/ 48 w 71"/>
                <a:gd name="T7" fmla="*/ 17 h 62"/>
                <a:gd name="T8" fmla="*/ 32 w 71"/>
                <a:gd name="T9" fmla="*/ 2 h 62"/>
                <a:gd name="T10" fmla="*/ 28 w 71"/>
                <a:gd name="T11" fmla="*/ 0 h 62"/>
                <a:gd name="T12" fmla="*/ 28 w 71"/>
                <a:gd name="T13" fmla="*/ 0 h 62"/>
                <a:gd name="T14" fmla="*/ 28 w 71"/>
                <a:gd name="T15" fmla="*/ 0 h 62"/>
                <a:gd name="T16" fmla="*/ 6 w 71"/>
                <a:gd name="T17" fmla="*/ 0 h 62"/>
                <a:gd name="T18" fmla="*/ 0 w 71"/>
                <a:gd name="T19" fmla="*/ 5 h 62"/>
                <a:gd name="T20" fmla="*/ 0 w 71"/>
                <a:gd name="T21" fmla="*/ 56 h 62"/>
                <a:gd name="T22" fmla="*/ 6 w 71"/>
                <a:gd name="T23" fmla="*/ 62 h 62"/>
                <a:gd name="T24" fmla="*/ 44 w 71"/>
                <a:gd name="T25" fmla="*/ 62 h 62"/>
                <a:gd name="T26" fmla="*/ 50 w 71"/>
                <a:gd name="T27" fmla="*/ 56 h 62"/>
                <a:gd name="T28" fmla="*/ 50 w 71"/>
                <a:gd name="T29" fmla="*/ 21 h 62"/>
                <a:gd name="T30" fmla="*/ 49 w 71"/>
                <a:gd name="T31" fmla="*/ 21 h 62"/>
                <a:gd name="T32" fmla="*/ 28 w 71"/>
                <a:gd name="T33" fmla="*/ 5 h 62"/>
                <a:gd name="T34" fmla="*/ 44 w 71"/>
                <a:gd name="T35" fmla="*/ 21 h 62"/>
                <a:gd name="T36" fmla="*/ 28 w 71"/>
                <a:gd name="T37" fmla="*/ 21 h 62"/>
                <a:gd name="T38" fmla="*/ 28 w 71"/>
                <a:gd name="T39" fmla="*/ 5 h 62"/>
                <a:gd name="T40" fmla="*/ 44 w 71"/>
                <a:gd name="T41" fmla="*/ 56 h 62"/>
                <a:gd name="T42" fmla="*/ 6 w 71"/>
                <a:gd name="T43" fmla="*/ 56 h 62"/>
                <a:gd name="T44" fmla="*/ 6 w 71"/>
                <a:gd name="T45" fmla="*/ 5 h 62"/>
                <a:gd name="T46" fmla="*/ 23 w 71"/>
                <a:gd name="T47" fmla="*/ 5 h 62"/>
                <a:gd name="T48" fmla="*/ 23 w 71"/>
                <a:gd name="T49" fmla="*/ 21 h 62"/>
                <a:gd name="T50" fmla="*/ 28 w 71"/>
                <a:gd name="T51" fmla="*/ 27 h 62"/>
                <a:gd name="T52" fmla="*/ 44 w 71"/>
                <a:gd name="T53" fmla="*/ 27 h 62"/>
                <a:gd name="T54" fmla="*/ 44 w 71"/>
                <a:gd name="T55" fmla="*/ 56 h 62"/>
                <a:gd name="T56" fmla="*/ 58 w 71"/>
                <a:gd name="T57" fmla="*/ 14 h 62"/>
                <a:gd name="T58" fmla="*/ 60 w 71"/>
                <a:gd name="T59" fmla="*/ 19 h 62"/>
                <a:gd name="T60" fmla="*/ 60 w 71"/>
                <a:gd name="T61" fmla="*/ 56 h 62"/>
                <a:gd name="T62" fmla="*/ 55 w 71"/>
                <a:gd name="T63" fmla="*/ 62 h 62"/>
                <a:gd name="T64" fmla="*/ 53 w 71"/>
                <a:gd name="T65" fmla="*/ 62 h 62"/>
                <a:gd name="T66" fmla="*/ 55 w 71"/>
                <a:gd name="T67" fmla="*/ 57 h 62"/>
                <a:gd name="T68" fmla="*/ 55 w 71"/>
                <a:gd name="T69" fmla="*/ 21 h 62"/>
                <a:gd name="T70" fmla="*/ 53 w 71"/>
                <a:gd name="T71" fmla="*/ 15 h 62"/>
                <a:gd name="T72" fmla="*/ 37 w 71"/>
                <a:gd name="T73" fmla="*/ 0 h 62"/>
                <a:gd name="T74" fmla="*/ 37 w 71"/>
                <a:gd name="T75" fmla="*/ 0 h 62"/>
                <a:gd name="T76" fmla="*/ 39 w 71"/>
                <a:gd name="T77" fmla="*/ 0 h 62"/>
                <a:gd name="T78" fmla="*/ 40 w 71"/>
                <a:gd name="T79" fmla="*/ 0 h 62"/>
                <a:gd name="T80" fmla="*/ 47 w 71"/>
                <a:gd name="T81" fmla="*/ 3 h 62"/>
                <a:gd name="T82" fmla="*/ 58 w 71"/>
                <a:gd name="T83" fmla="*/ 14 h 62"/>
                <a:gd name="T84" fmla="*/ 69 w 71"/>
                <a:gd name="T85" fmla="*/ 13 h 62"/>
                <a:gd name="T86" fmla="*/ 71 w 71"/>
                <a:gd name="T87" fmla="*/ 17 h 62"/>
                <a:gd name="T88" fmla="*/ 71 w 71"/>
                <a:gd name="T89" fmla="*/ 56 h 62"/>
                <a:gd name="T90" fmla="*/ 65 w 71"/>
                <a:gd name="T91" fmla="*/ 62 h 62"/>
                <a:gd name="T92" fmla="*/ 64 w 71"/>
                <a:gd name="T93" fmla="*/ 62 h 62"/>
                <a:gd name="T94" fmla="*/ 65 w 71"/>
                <a:gd name="T95" fmla="*/ 57 h 62"/>
                <a:gd name="T96" fmla="*/ 65 w 71"/>
                <a:gd name="T97" fmla="*/ 18 h 62"/>
                <a:gd name="T98" fmla="*/ 64 w 71"/>
                <a:gd name="T99" fmla="*/ 14 h 62"/>
                <a:gd name="T100" fmla="*/ 50 w 71"/>
                <a:gd name="T101" fmla="*/ 0 h 62"/>
                <a:gd name="T102" fmla="*/ 50 w 71"/>
                <a:gd name="T103" fmla="*/ 0 h 62"/>
                <a:gd name="T104" fmla="*/ 51 w 71"/>
                <a:gd name="T105" fmla="*/ 0 h 62"/>
                <a:gd name="T106" fmla="*/ 52 w 71"/>
                <a:gd name="T107" fmla="*/ 0 h 62"/>
                <a:gd name="T108" fmla="*/ 59 w 71"/>
                <a:gd name="T109" fmla="*/ 3 h 62"/>
                <a:gd name="T110" fmla="*/ 69 w 71"/>
                <a:gd name="T111" fmla="*/ 1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1" h="62">
                  <a:moveTo>
                    <a:pt x="49" y="21"/>
                  </a:moveTo>
                  <a:cubicBezTo>
                    <a:pt x="49" y="20"/>
                    <a:pt x="49" y="20"/>
                    <a:pt x="49" y="19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49" y="18"/>
                    <a:pt x="48" y="18"/>
                    <a:pt x="48" y="17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0"/>
                    <a:pt x="30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9"/>
                    <a:pt x="3" y="62"/>
                    <a:pt x="6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7" y="62"/>
                    <a:pt x="50" y="59"/>
                    <a:pt x="50" y="56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1"/>
                    <a:pt x="49" y="21"/>
                    <a:pt x="49" y="21"/>
                  </a:cubicBezTo>
                  <a:close/>
                  <a:moveTo>
                    <a:pt x="28" y="5"/>
                  </a:moveTo>
                  <a:cubicBezTo>
                    <a:pt x="44" y="21"/>
                    <a:pt x="44" y="21"/>
                    <a:pt x="44" y="21"/>
                  </a:cubicBezTo>
                  <a:cubicBezTo>
                    <a:pt x="28" y="21"/>
                    <a:pt x="28" y="21"/>
                    <a:pt x="28" y="21"/>
                  </a:cubicBezTo>
                  <a:lnTo>
                    <a:pt x="28" y="5"/>
                  </a:lnTo>
                  <a:close/>
                  <a:moveTo>
                    <a:pt x="44" y="56"/>
                  </a:moveTo>
                  <a:cubicBezTo>
                    <a:pt x="6" y="56"/>
                    <a:pt x="6" y="56"/>
                    <a:pt x="6" y="5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4"/>
                    <a:pt x="25" y="27"/>
                    <a:pt x="28" y="27"/>
                  </a:cubicBezTo>
                  <a:cubicBezTo>
                    <a:pt x="44" y="27"/>
                    <a:pt x="44" y="27"/>
                    <a:pt x="44" y="27"/>
                  </a:cubicBezTo>
                  <a:lnTo>
                    <a:pt x="44" y="56"/>
                  </a:lnTo>
                  <a:close/>
                  <a:moveTo>
                    <a:pt x="58" y="14"/>
                  </a:moveTo>
                  <a:cubicBezTo>
                    <a:pt x="59" y="15"/>
                    <a:pt x="60" y="17"/>
                    <a:pt x="60" y="19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9"/>
                    <a:pt x="58" y="62"/>
                    <a:pt x="55" y="62"/>
                  </a:cubicBezTo>
                  <a:cubicBezTo>
                    <a:pt x="53" y="62"/>
                    <a:pt x="53" y="62"/>
                    <a:pt x="53" y="62"/>
                  </a:cubicBezTo>
                  <a:cubicBezTo>
                    <a:pt x="54" y="60"/>
                    <a:pt x="55" y="59"/>
                    <a:pt x="55" y="57"/>
                  </a:cubicBezTo>
                  <a:cubicBezTo>
                    <a:pt x="55" y="21"/>
                    <a:pt x="55" y="21"/>
                    <a:pt x="55" y="21"/>
                  </a:cubicBezTo>
                  <a:cubicBezTo>
                    <a:pt x="55" y="19"/>
                    <a:pt x="54" y="17"/>
                    <a:pt x="53" y="15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1" y="0"/>
                    <a:pt x="44" y="0"/>
                    <a:pt x="47" y="3"/>
                  </a:cubicBezTo>
                  <a:cubicBezTo>
                    <a:pt x="58" y="14"/>
                    <a:pt x="58" y="14"/>
                    <a:pt x="58" y="14"/>
                  </a:cubicBezTo>
                  <a:moveTo>
                    <a:pt x="69" y="13"/>
                  </a:moveTo>
                  <a:cubicBezTo>
                    <a:pt x="70" y="14"/>
                    <a:pt x="71" y="16"/>
                    <a:pt x="71" y="17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9"/>
                    <a:pt x="68" y="62"/>
                    <a:pt x="65" y="62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5" y="60"/>
                    <a:pt x="65" y="59"/>
                    <a:pt x="65" y="57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5" y="17"/>
                    <a:pt x="65" y="15"/>
                    <a:pt x="64" y="14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4" y="0"/>
                    <a:pt x="56" y="0"/>
                    <a:pt x="59" y="3"/>
                  </a:cubicBezTo>
                  <a:cubicBezTo>
                    <a:pt x="69" y="13"/>
                    <a:pt x="69" y="13"/>
                    <a:pt x="69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1" name="Text Placeholder 30"/>
          <p:cNvSpPr>
            <a:spLocks noGrp="1"/>
          </p:cNvSpPr>
          <p:nvPr>
            <p:ph type="body" sz="quarter" idx="38"/>
          </p:nvPr>
        </p:nvSpPr>
        <p:spPr>
          <a:xfrm>
            <a:off x="4700338" y="6480088"/>
            <a:ext cx="2997617" cy="379500"/>
          </a:xfrm>
        </p:spPr>
        <p:txBody>
          <a:bodyPr/>
          <a:lstStyle>
            <a:lvl1pPr marL="176143" indent="-176143">
              <a:buFont typeface="Wingdings" panose="05000000000000000000" pitchFamily="2" charset="2"/>
              <a:buChar char="ü"/>
              <a:defRPr lang="en-US" sz="1000" kern="1200" spc="0" baseline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716001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enario Details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 bwMode="auto">
          <a:xfrm>
            <a:off x="4178433" y="0"/>
            <a:ext cx="3727236" cy="6859588"/>
          </a:xfrm>
          <a:prstGeom prst="rect">
            <a:avLst/>
          </a:prstGeom>
          <a:solidFill>
            <a:srgbClr val="8CB1D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5702" tIns="274213" rIns="45702" bIns="4570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ENABLING TECHNOLOGIES</a:t>
            </a:r>
          </a:p>
        </p:txBody>
      </p:sp>
      <p:sp>
        <p:nvSpPr>
          <p:cNvPr id="7" name="Rectangle 6"/>
          <p:cNvSpPr/>
          <p:nvPr/>
        </p:nvSpPr>
        <p:spPr bwMode="white">
          <a:xfrm>
            <a:off x="7905669" y="0"/>
            <a:ext cx="4281569" cy="685958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36" tIns="45636" rIns="45636" bIns="456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23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99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25741" y="6321651"/>
            <a:ext cx="1461498" cy="537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8074046" y="692757"/>
            <a:ext cx="955302" cy="955896"/>
          </a:xfrm>
        </p:spPr>
        <p:txBody>
          <a:bodyPr/>
          <a:lstStyle>
            <a:lvl1pPr marL="0" indent="0">
              <a:buFontTx/>
              <a:buNone/>
              <a:defRPr sz="1999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7905669" y="177841"/>
            <a:ext cx="4281569" cy="4362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3983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High Impact Persona Examples</a:t>
            </a:r>
          </a:p>
        </p:txBody>
      </p:sp>
      <p:sp>
        <p:nvSpPr>
          <p:cNvPr id="20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074046" y="1768602"/>
            <a:ext cx="955302" cy="955896"/>
          </a:xfrm>
        </p:spPr>
        <p:txBody>
          <a:bodyPr/>
          <a:lstStyle>
            <a:lvl1pPr marL="0" indent="0">
              <a:buFontTx/>
              <a:buNone/>
              <a:defRPr sz="1999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8074046" y="2844447"/>
            <a:ext cx="955302" cy="955896"/>
          </a:xfrm>
        </p:spPr>
        <p:txBody>
          <a:bodyPr/>
          <a:lstStyle>
            <a:lvl1pPr marL="0" indent="0">
              <a:buFontTx/>
              <a:buNone/>
              <a:defRPr sz="1999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7" name="Rectangle 26"/>
          <p:cNvSpPr/>
          <p:nvPr userDrawn="1"/>
        </p:nvSpPr>
        <p:spPr bwMode="auto">
          <a:xfrm>
            <a:off x="232994" y="197175"/>
            <a:ext cx="3765857" cy="436229"/>
          </a:xfrm>
          <a:prstGeom prst="rect">
            <a:avLst/>
          </a:prstGeom>
          <a:solidFill>
            <a:srgbClr val="8CB1D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502724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Business Benefits</a:t>
            </a:r>
          </a:p>
        </p:txBody>
      </p:sp>
      <p:sp>
        <p:nvSpPr>
          <p:cNvPr id="28" name="Content Placeholder 47"/>
          <p:cNvSpPr>
            <a:spLocks noGrp="1"/>
          </p:cNvSpPr>
          <p:nvPr>
            <p:ph sz="quarter" idx="23" hasCustomPrompt="1"/>
          </p:nvPr>
        </p:nvSpPr>
        <p:spPr>
          <a:xfrm>
            <a:off x="235733" y="647876"/>
            <a:ext cx="3767638" cy="1382273"/>
          </a:xfrm>
        </p:spPr>
        <p:txBody>
          <a:bodyPr lIns="45720" tIns="45720" rIns="45720"/>
          <a:lstStyle>
            <a:lvl1pPr marL="171381" indent="-171381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lang="en-US" sz="1200" kern="1200" spc="0" baseline="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171381" indent="-171381">
              <a:buFont typeface="Wingdings" panose="05000000000000000000" pitchFamily="2" charset="2"/>
              <a:buChar char="§"/>
              <a:defRPr lang="en-US" sz="1100" kern="1200" spc="-71" baseline="0" dirty="0" smtClean="0">
                <a:solidFill>
                  <a:schemeClr val="accent6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285636" indent="-171381">
              <a:buFont typeface="Wingdings" panose="05000000000000000000" pitchFamily="2" charset="2"/>
              <a:buChar char="§"/>
              <a:defRPr sz="1100"/>
            </a:lvl3pPr>
            <a:lvl4pPr marL="349110" indent="-171381">
              <a:buFont typeface="Wingdings" panose="05000000000000000000" pitchFamily="2" charset="2"/>
              <a:buChar char="§"/>
              <a:defRPr sz="1050"/>
            </a:lvl4pPr>
            <a:lvl5pPr marL="349110" indent="-171381">
              <a:buFont typeface="Wingdings" panose="05000000000000000000" pitchFamily="2" charset="2"/>
              <a:buChar char="§"/>
              <a:defRPr sz="105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5" name="Picture 3" descr="\\MAGNUM\Projects\Microsoft\Cloud Power FY12\Design\Icons\PNGs\Scalable_Elastic_4.png"/>
          <p:cNvPicPr>
            <a:picLocks noChangeAspect="1" noChangeArrowheads="1"/>
          </p:cNvPicPr>
          <p:nvPr userDrawn="1"/>
        </p:nvPicPr>
        <p:blipFill>
          <a:blip r:embed="rId3" cstate="email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47" y="182239"/>
            <a:ext cx="458116" cy="458401"/>
          </a:xfrm>
          <a:prstGeom prst="rect">
            <a:avLst/>
          </a:prstGeom>
          <a:noFill/>
        </p:spPr>
      </p:pic>
      <p:sp>
        <p:nvSpPr>
          <p:cNvPr id="78" name="Rectangle 77"/>
          <p:cNvSpPr/>
          <p:nvPr userDrawn="1"/>
        </p:nvSpPr>
        <p:spPr bwMode="auto">
          <a:xfrm>
            <a:off x="232994" y="2522513"/>
            <a:ext cx="3765857" cy="436229"/>
          </a:xfrm>
          <a:prstGeom prst="rect">
            <a:avLst/>
          </a:prstGeom>
          <a:solidFill>
            <a:srgbClr val="8CB1D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502724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Business Change </a:t>
            </a:r>
          </a:p>
        </p:txBody>
      </p:sp>
      <p:sp>
        <p:nvSpPr>
          <p:cNvPr id="81" name="Rectangle 80"/>
          <p:cNvSpPr/>
          <p:nvPr userDrawn="1"/>
        </p:nvSpPr>
        <p:spPr bwMode="auto">
          <a:xfrm>
            <a:off x="232994" y="4717078"/>
            <a:ext cx="3765857" cy="436229"/>
          </a:xfrm>
          <a:prstGeom prst="rect">
            <a:avLst/>
          </a:prstGeom>
          <a:solidFill>
            <a:srgbClr val="8CB1D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502724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Metrics &amp; Measures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7983354" y="203174"/>
            <a:ext cx="557740" cy="382916"/>
            <a:chOff x="7999173" y="25327"/>
            <a:chExt cx="557958" cy="382827"/>
          </a:xfrm>
        </p:grpSpPr>
        <p:pic>
          <p:nvPicPr>
            <p:cNvPr id="87" name="Picture 4" descr="\\MAGNUM\Projects\Microsoft\Cloud Power FY12\Design\Icons\PNGs\IT_guy.png"/>
            <p:cNvPicPr>
              <a:picLocks noChangeAspect="1" noChangeArrowheads="1"/>
            </p:cNvPicPr>
            <p:nvPr userDrawn="1"/>
          </p:nvPicPr>
          <p:blipFill>
            <a:blip r:embed="rId4" cstate="email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99173" y="25327"/>
              <a:ext cx="357427" cy="357427"/>
            </a:xfrm>
            <a:prstGeom prst="rect">
              <a:avLst/>
            </a:prstGeom>
            <a:noFill/>
          </p:spPr>
        </p:pic>
        <p:pic>
          <p:nvPicPr>
            <p:cNvPr id="88" name="Picture 4" descr="\\MAGNUM\Projects\Microsoft\Cloud Power FY12\Design\Icons\PNGs\IT_guy.png"/>
            <p:cNvPicPr>
              <a:picLocks noChangeAspect="1" noChangeArrowheads="1"/>
            </p:cNvPicPr>
            <p:nvPr userDrawn="1"/>
          </p:nvPicPr>
          <p:blipFill>
            <a:blip r:embed="rId4" cstate="email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96589" y="50727"/>
              <a:ext cx="357427" cy="357427"/>
            </a:xfrm>
            <a:prstGeom prst="rect">
              <a:avLst/>
            </a:prstGeom>
            <a:noFill/>
          </p:spPr>
        </p:pic>
        <p:pic>
          <p:nvPicPr>
            <p:cNvPr id="89" name="Picture 4" descr="\\MAGNUM\Projects\Microsoft\Cloud Power FY12\Design\Icons\PNGs\IT_guy.png"/>
            <p:cNvPicPr>
              <a:picLocks noChangeAspect="1" noChangeArrowheads="1"/>
            </p:cNvPicPr>
            <p:nvPr userDrawn="1"/>
          </p:nvPicPr>
          <p:blipFill>
            <a:blip r:embed="rId4" cstate="email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99704" y="25327"/>
              <a:ext cx="357427" cy="357427"/>
            </a:xfrm>
            <a:prstGeom prst="rect">
              <a:avLst/>
            </a:prstGeom>
            <a:noFill/>
          </p:spPr>
        </p:pic>
      </p:grpSp>
      <p:sp>
        <p:nvSpPr>
          <p:cNvPr id="91" name="Freeform 90"/>
          <p:cNvSpPr/>
          <p:nvPr userDrawn="1"/>
        </p:nvSpPr>
        <p:spPr>
          <a:xfrm rot="12635514">
            <a:off x="328279" y="4821679"/>
            <a:ext cx="357376" cy="300014"/>
          </a:xfrm>
          <a:custGeom>
            <a:avLst/>
            <a:gdLst>
              <a:gd name="connsiteX0" fmla="*/ 664814 w 1528805"/>
              <a:gd name="connsiteY0" fmla="*/ 385562 h 1282626"/>
              <a:gd name="connsiteX1" fmla="*/ 664814 w 1528805"/>
              <a:gd name="connsiteY1" fmla="*/ 379615 h 1282626"/>
              <a:gd name="connsiteX2" fmla="*/ 674861 w 1528805"/>
              <a:gd name="connsiteY2" fmla="*/ 379615 h 1282626"/>
              <a:gd name="connsiteX3" fmla="*/ 669228 w 1528805"/>
              <a:gd name="connsiteY3" fmla="*/ 381531 h 1282626"/>
              <a:gd name="connsiteX4" fmla="*/ 780408 w 1528805"/>
              <a:gd name="connsiteY4" fmla="*/ 381805 h 1282626"/>
              <a:gd name="connsiteX5" fmla="*/ 780408 w 1528805"/>
              <a:gd name="connsiteY5" fmla="*/ 379615 h 1282626"/>
              <a:gd name="connsiteX6" fmla="*/ 775985 w 1528805"/>
              <a:gd name="connsiteY6" fmla="*/ 379615 h 1282626"/>
              <a:gd name="connsiteX7" fmla="*/ 1389946 w 1528805"/>
              <a:gd name="connsiteY7" fmla="*/ 93668 h 1282626"/>
              <a:gd name="connsiteX8" fmla="*/ 1322166 w 1528805"/>
              <a:gd name="connsiteY8" fmla="*/ 74994 h 1282626"/>
              <a:gd name="connsiteX9" fmla="*/ 1338474 w 1528805"/>
              <a:gd name="connsiteY9" fmla="*/ 6605 h 1282626"/>
              <a:gd name="connsiteX10" fmla="*/ 1406254 w 1528805"/>
              <a:gd name="connsiteY10" fmla="*/ 25280 h 1282626"/>
              <a:gd name="connsiteX11" fmla="*/ 1389946 w 1528805"/>
              <a:gd name="connsiteY11" fmla="*/ 93668 h 1282626"/>
              <a:gd name="connsiteX12" fmla="*/ 75038 w 1528805"/>
              <a:gd name="connsiteY12" fmla="*/ 871052 h 1282626"/>
              <a:gd name="connsiteX13" fmla="*/ 7258 w 1528805"/>
              <a:gd name="connsiteY13" fmla="*/ 852377 h 1282626"/>
              <a:gd name="connsiteX14" fmla="*/ 23566 w 1528805"/>
              <a:gd name="connsiteY14" fmla="*/ 783989 h 1282626"/>
              <a:gd name="connsiteX15" fmla="*/ 91345 w 1528805"/>
              <a:gd name="connsiteY15" fmla="*/ 802664 h 1282626"/>
              <a:gd name="connsiteX16" fmla="*/ 75038 w 1528805"/>
              <a:gd name="connsiteY16" fmla="*/ 871052 h 1282626"/>
              <a:gd name="connsiteX17" fmla="*/ 1505239 w 1528805"/>
              <a:gd name="connsiteY17" fmla="*/ 486273 h 1282626"/>
              <a:gd name="connsiteX18" fmla="*/ 1437459 w 1528805"/>
              <a:gd name="connsiteY18" fmla="*/ 467598 h 1282626"/>
              <a:gd name="connsiteX19" fmla="*/ 1453767 w 1528805"/>
              <a:gd name="connsiteY19" fmla="*/ 399210 h 1282626"/>
              <a:gd name="connsiteX20" fmla="*/ 1521547 w 1528805"/>
              <a:gd name="connsiteY20" fmla="*/ 417885 h 1282626"/>
              <a:gd name="connsiteX21" fmla="*/ 1505239 w 1528805"/>
              <a:gd name="connsiteY21" fmla="*/ 486273 h 1282626"/>
              <a:gd name="connsiteX22" fmla="*/ 363455 w 1528805"/>
              <a:gd name="connsiteY22" fmla="*/ 1161305 h 1282626"/>
              <a:gd name="connsiteX23" fmla="*/ 295675 w 1528805"/>
              <a:gd name="connsiteY23" fmla="*/ 1142630 h 1282626"/>
              <a:gd name="connsiteX24" fmla="*/ 311983 w 1528805"/>
              <a:gd name="connsiteY24" fmla="*/ 1074242 h 1282626"/>
              <a:gd name="connsiteX25" fmla="*/ 379763 w 1528805"/>
              <a:gd name="connsiteY25" fmla="*/ 1092917 h 1282626"/>
              <a:gd name="connsiteX26" fmla="*/ 363455 w 1528805"/>
              <a:gd name="connsiteY26" fmla="*/ 1161305 h 1282626"/>
              <a:gd name="connsiteX27" fmla="*/ 722611 w 1528805"/>
              <a:gd name="connsiteY27" fmla="*/ 1057502 h 1282626"/>
              <a:gd name="connsiteX28" fmla="*/ 715534 w 1528805"/>
              <a:gd name="connsiteY28" fmla="*/ 1050425 h 1282626"/>
              <a:gd name="connsiteX29" fmla="*/ 730005 w 1528805"/>
              <a:gd name="connsiteY29" fmla="*/ 1050108 h 1282626"/>
              <a:gd name="connsiteX30" fmla="*/ 1017254 w 1528805"/>
              <a:gd name="connsiteY30" fmla="*/ 970201 h 1282626"/>
              <a:gd name="connsiteX31" fmla="*/ 785931 w 1528805"/>
              <a:gd name="connsiteY31" fmla="*/ 1048882 h 1282626"/>
              <a:gd name="connsiteX32" fmla="*/ 730005 w 1528805"/>
              <a:gd name="connsiteY32" fmla="*/ 1050108 h 1282626"/>
              <a:gd name="connsiteX33" fmla="*/ 838205 w 1528805"/>
              <a:gd name="connsiteY33" fmla="*/ 941908 h 1282626"/>
              <a:gd name="connsiteX34" fmla="*/ 780408 w 1528805"/>
              <a:gd name="connsiteY34" fmla="*/ 941908 h 1282626"/>
              <a:gd name="connsiteX35" fmla="*/ 780408 w 1528805"/>
              <a:gd name="connsiteY35" fmla="*/ 589768 h 1282626"/>
              <a:gd name="connsiteX36" fmla="*/ 747076 w 1528805"/>
              <a:gd name="connsiteY36" fmla="*/ 601106 h 1282626"/>
              <a:gd name="connsiteX37" fmla="*/ 702653 w 1528805"/>
              <a:gd name="connsiteY37" fmla="*/ 597745 h 1282626"/>
              <a:gd name="connsiteX38" fmla="*/ 664814 w 1528805"/>
              <a:gd name="connsiteY38" fmla="*/ 579013 h 1282626"/>
              <a:gd name="connsiteX39" fmla="*/ 664814 w 1528805"/>
              <a:gd name="connsiteY39" fmla="*/ 941908 h 1282626"/>
              <a:gd name="connsiteX40" fmla="*/ 607017 w 1528805"/>
              <a:gd name="connsiteY40" fmla="*/ 941908 h 1282626"/>
              <a:gd name="connsiteX41" fmla="*/ 715534 w 1528805"/>
              <a:gd name="connsiteY41" fmla="*/ 1050425 h 1282626"/>
              <a:gd name="connsiteX42" fmla="*/ 666236 w 1528805"/>
              <a:gd name="connsiteY42" fmla="*/ 1051507 h 1282626"/>
              <a:gd name="connsiteX43" fmla="*/ 164567 w 1528805"/>
              <a:gd name="connsiteY43" fmla="*/ 735263 h 1282626"/>
              <a:gd name="connsiteX44" fmla="*/ 642077 w 1528805"/>
              <a:gd name="connsiteY44" fmla="*/ 452955 h 1282626"/>
              <a:gd name="connsiteX45" fmla="*/ 637768 w 1528805"/>
              <a:gd name="connsiteY45" fmla="*/ 462416 h 1282626"/>
              <a:gd name="connsiteX46" fmla="*/ 648525 w 1528805"/>
              <a:gd name="connsiteY46" fmla="*/ 532002 h 1282626"/>
              <a:gd name="connsiteX47" fmla="*/ 772443 w 1528805"/>
              <a:gd name="connsiteY47" fmla="*/ 566144 h 1282626"/>
              <a:gd name="connsiteX48" fmla="*/ 802258 w 1528805"/>
              <a:gd name="connsiteY48" fmla="*/ 441114 h 1282626"/>
              <a:gd name="connsiteX49" fmla="*/ 746473 w 1528805"/>
              <a:gd name="connsiteY49" fmla="*/ 398148 h 1282626"/>
              <a:gd name="connsiteX50" fmla="*/ 736107 w 1528805"/>
              <a:gd name="connsiteY50" fmla="*/ 397364 h 1282626"/>
              <a:gd name="connsiteX51" fmla="*/ 1222404 w 1528805"/>
              <a:gd name="connsiteY51" fmla="*/ 109861 h 1282626"/>
              <a:gd name="connsiteX52" fmla="*/ 1017254 w 1528805"/>
              <a:gd name="connsiteY52" fmla="*/ 970201 h 1282626"/>
              <a:gd name="connsiteX53" fmla="*/ 714973 w 1528805"/>
              <a:gd name="connsiteY53" fmla="*/ 1276021 h 1282626"/>
              <a:gd name="connsiteX54" fmla="*/ 647193 w 1528805"/>
              <a:gd name="connsiteY54" fmla="*/ 1257347 h 1282626"/>
              <a:gd name="connsiteX55" fmla="*/ 663501 w 1528805"/>
              <a:gd name="connsiteY55" fmla="*/ 1188959 h 1282626"/>
              <a:gd name="connsiteX56" fmla="*/ 731280 w 1528805"/>
              <a:gd name="connsiteY56" fmla="*/ 1207633 h 1282626"/>
              <a:gd name="connsiteX57" fmla="*/ 714973 w 1528805"/>
              <a:gd name="connsiteY57" fmla="*/ 1276021 h 1282626"/>
              <a:gd name="connsiteX58" fmla="*/ 1399220 w 1528805"/>
              <a:gd name="connsiteY58" fmla="*/ 871489 h 1282626"/>
              <a:gd name="connsiteX59" fmla="*/ 1331440 w 1528805"/>
              <a:gd name="connsiteY59" fmla="*/ 852814 h 1282626"/>
              <a:gd name="connsiteX60" fmla="*/ 1347748 w 1528805"/>
              <a:gd name="connsiteY60" fmla="*/ 784426 h 1282626"/>
              <a:gd name="connsiteX61" fmla="*/ 1415528 w 1528805"/>
              <a:gd name="connsiteY61" fmla="*/ 803101 h 1282626"/>
              <a:gd name="connsiteX62" fmla="*/ 1399220 w 1528805"/>
              <a:gd name="connsiteY62" fmla="*/ 871489 h 1282626"/>
              <a:gd name="connsiteX63" fmla="*/ 1125898 w 1528805"/>
              <a:gd name="connsiteY63" fmla="*/ 1171310 h 1282626"/>
              <a:gd name="connsiteX64" fmla="*/ 1058118 w 1528805"/>
              <a:gd name="connsiteY64" fmla="*/ 1152635 h 1282626"/>
              <a:gd name="connsiteX65" fmla="*/ 1074426 w 1528805"/>
              <a:gd name="connsiteY65" fmla="*/ 1084247 h 1282626"/>
              <a:gd name="connsiteX66" fmla="*/ 1142206 w 1528805"/>
              <a:gd name="connsiteY66" fmla="*/ 1102922 h 1282626"/>
              <a:gd name="connsiteX67" fmla="*/ 1125898 w 1528805"/>
              <a:gd name="connsiteY67" fmla="*/ 1171310 h 1282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1528805" h="1282626">
                <a:moveTo>
                  <a:pt x="664814" y="385562"/>
                </a:moveTo>
                <a:lnTo>
                  <a:pt x="664814" y="379615"/>
                </a:lnTo>
                <a:lnTo>
                  <a:pt x="674861" y="379615"/>
                </a:lnTo>
                <a:lnTo>
                  <a:pt x="669228" y="381531"/>
                </a:lnTo>
                <a:close/>
                <a:moveTo>
                  <a:pt x="780408" y="381805"/>
                </a:moveTo>
                <a:lnTo>
                  <a:pt x="780408" y="379615"/>
                </a:lnTo>
                <a:lnTo>
                  <a:pt x="775985" y="379615"/>
                </a:lnTo>
                <a:close/>
                <a:moveTo>
                  <a:pt x="1389946" y="93668"/>
                </a:moveTo>
                <a:cubicBezTo>
                  <a:pt x="1366725" y="107396"/>
                  <a:pt x="1336379" y="99035"/>
                  <a:pt x="1322166" y="74994"/>
                </a:cubicBezTo>
                <a:cubicBezTo>
                  <a:pt x="1307952" y="50952"/>
                  <a:pt x="1315253" y="20334"/>
                  <a:pt x="1338474" y="6605"/>
                </a:cubicBezTo>
                <a:cubicBezTo>
                  <a:pt x="1361694" y="-7123"/>
                  <a:pt x="1392040" y="1239"/>
                  <a:pt x="1406254" y="25280"/>
                </a:cubicBezTo>
                <a:cubicBezTo>
                  <a:pt x="1420467" y="49322"/>
                  <a:pt x="1413166" y="79940"/>
                  <a:pt x="1389946" y="93668"/>
                </a:cubicBezTo>
                <a:close/>
                <a:moveTo>
                  <a:pt x="75038" y="871052"/>
                </a:moveTo>
                <a:cubicBezTo>
                  <a:pt x="51817" y="884780"/>
                  <a:pt x="21471" y="876419"/>
                  <a:pt x="7258" y="852377"/>
                </a:cubicBezTo>
                <a:cubicBezTo>
                  <a:pt x="-6956" y="828335"/>
                  <a:pt x="345" y="797717"/>
                  <a:pt x="23566" y="783989"/>
                </a:cubicBezTo>
                <a:cubicBezTo>
                  <a:pt x="46786" y="770261"/>
                  <a:pt x="77132" y="778622"/>
                  <a:pt x="91345" y="802664"/>
                </a:cubicBezTo>
                <a:cubicBezTo>
                  <a:pt x="105559" y="826705"/>
                  <a:pt x="98258" y="857324"/>
                  <a:pt x="75038" y="871052"/>
                </a:cubicBezTo>
                <a:close/>
                <a:moveTo>
                  <a:pt x="1505239" y="486273"/>
                </a:moveTo>
                <a:cubicBezTo>
                  <a:pt x="1482019" y="500001"/>
                  <a:pt x="1451673" y="491640"/>
                  <a:pt x="1437459" y="467598"/>
                </a:cubicBezTo>
                <a:cubicBezTo>
                  <a:pt x="1423246" y="443557"/>
                  <a:pt x="1430547" y="412939"/>
                  <a:pt x="1453767" y="399210"/>
                </a:cubicBezTo>
                <a:cubicBezTo>
                  <a:pt x="1476988" y="385482"/>
                  <a:pt x="1507334" y="393843"/>
                  <a:pt x="1521547" y="417885"/>
                </a:cubicBezTo>
                <a:cubicBezTo>
                  <a:pt x="1535761" y="441927"/>
                  <a:pt x="1528460" y="472545"/>
                  <a:pt x="1505239" y="486273"/>
                </a:cubicBezTo>
                <a:close/>
                <a:moveTo>
                  <a:pt x="363455" y="1161305"/>
                </a:moveTo>
                <a:cubicBezTo>
                  <a:pt x="340234" y="1175033"/>
                  <a:pt x="309888" y="1166672"/>
                  <a:pt x="295675" y="1142630"/>
                </a:cubicBezTo>
                <a:cubicBezTo>
                  <a:pt x="281461" y="1118588"/>
                  <a:pt x="288762" y="1087970"/>
                  <a:pt x="311983" y="1074242"/>
                </a:cubicBezTo>
                <a:cubicBezTo>
                  <a:pt x="335203" y="1060514"/>
                  <a:pt x="365549" y="1068875"/>
                  <a:pt x="379763" y="1092917"/>
                </a:cubicBezTo>
                <a:cubicBezTo>
                  <a:pt x="393976" y="1116958"/>
                  <a:pt x="386675" y="1147577"/>
                  <a:pt x="363455" y="1161305"/>
                </a:cubicBezTo>
                <a:close/>
                <a:moveTo>
                  <a:pt x="722611" y="1057502"/>
                </a:moveTo>
                <a:lnTo>
                  <a:pt x="715534" y="1050425"/>
                </a:lnTo>
                <a:lnTo>
                  <a:pt x="730005" y="1050108"/>
                </a:lnTo>
                <a:close/>
                <a:moveTo>
                  <a:pt x="1017254" y="970201"/>
                </a:moveTo>
                <a:cubicBezTo>
                  <a:pt x="944225" y="1013376"/>
                  <a:pt x="865594" y="1039182"/>
                  <a:pt x="785931" y="1048882"/>
                </a:cubicBezTo>
                <a:lnTo>
                  <a:pt x="730005" y="1050108"/>
                </a:lnTo>
                <a:lnTo>
                  <a:pt x="838205" y="941908"/>
                </a:lnTo>
                <a:lnTo>
                  <a:pt x="780408" y="941908"/>
                </a:lnTo>
                <a:lnTo>
                  <a:pt x="780408" y="589768"/>
                </a:lnTo>
                <a:lnTo>
                  <a:pt x="747076" y="601106"/>
                </a:lnTo>
                <a:cubicBezTo>
                  <a:pt x="732176" y="602920"/>
                  <a:pt x="717083" y="601721"/>
                  <a:pt x="702653" y="597745"/>
                </a:cubicBezTo>
                <a:lnTo>
                  <a:pt x="664814" y="579013"/>
                </a:lnTo>
                <a:lnTo>
                  <a:pt x="664814" y="941908"/>
                </a:lnTo>
                <a:lnTo>
                  <a:pt x="607017" y="941908"/>
                </a:lnTo>
                <a:lnTo>
                  <a:pt x="715534" y="1050425"/>
                </a:lnTo>
                <a:lnTo>
                  <a:pt x="666236" y="1051507"/>
                </a:lnTo>
                <a:cubicBezTo>
                  <a:pt x="467359" y="1036271"/>
                  <a:pt x="276325" y="924295"/>
                  <a:pt x="164567" y="735263"/>
                </a:cubicBezTo>
                <a:lnTo>
                  <a:pt x="642077" y="452955"/>
                </a:lnTo>
                <a:lnTo>
                  <a:pt x="637768" y="462416"/>
                </a:lnTo>
                <a:cubicBezTo>
                  <a:pt x="632373" y="485042"/>
                  <a:pt x="635532" y="510025"/>
                  <a:pt x="648525" y="532002"/>
                </a:cubicBezTo>
                <a:cubicBezTo>
                  <a:pt x="674511" y="575956"/>
                  <a:pt x="729992" y="591242"/>
                  <a:pt x="772443" y="566144"/>
                </a:cubicBezTo>
                <a:cubicBezTo>
                  <a:pt x="814895" y="541047"/>
                  <a:pt x="828244" y="485068"/>
                  <a:pt x="802258" y="441114"/>
                </a:cubicBezTo>
                <a:cubicBezTo>
                  <a:pt x="789265" y="419137"/>
                  <a:pt x="768898" y="404327"/>
                  <a:pt x="746473" y="398148"/>
                </a:cubicBezTo>
                <a:lnTo>
                  <a:pt x="736107" y="397364"/>
                </a:lnTo>
                <a:lnTo>
                  <a:pt x="1222404" y="109861"/>
                </a:lnTo>
                <a:cubicBezTo>
                  <a:pt x="1401216" y="412313"/>
                  <a:pt x="1309368" y="797501"/>
                  <a:pt x="1017254" y="970201"/>
                </a:cubicBezTo>
                <a:close/>
                <a:moveTo>
                  <a:pt x="714973" y="1276021"/>
                </a:moveTo>
                <a:cubicBezTo>
                  <a:pt x="691752" y="1289749"/>
                  <a:pt x="661406" y="1281388"/>
                  <a:pt x="647193" y="1257347"/>
                </a:cubicBezTo>
                <a:cubicBezTo>
                  <a:pt x="632979" y="1233305"/>
                  <a:pt x="640280" y="1202687"/>
                  <a:pt x="663501" y="1188959"/>
                </a:cubicBezTo>
                <a:cubicBezTo>
                  <a:pt x="686721" y="1175231"/>
                  <a:pt x="717067" y="1183592"/>
                  <a:pt x="731280" y="1207633"/>
                </a:cubicBezTo>
                <a:cubicBezTo>
                  <a:pt x="745494" y="1231675"/>
                  <a:pt x="738193" y="1262293"/>
                  <a:pt x="714973" y="1276021"/>
                </a:cubicBezTo>
                <a:close/>
                <a:moveTo>
                  <a:pt x="1399220" y="871489"/>
                </a:moveTo>
                <a:cubicBezTo>
                  <a:pt x="1376000" y="885217"/>
                  <a:pt x="1345654" y="876856"/>
                  <a:pt x="1331440" y="852814"/>
                </a:cubicBezTo>
                <a:cubicBezTo>
                  <a:pt x="1317226" y="828773"/>
                  <a:pt x="1324527" y="798155"/>
                  <a:pt x="1347748" y="784426"/>
                </a:cubicBezTo>
                <a:cubicBezTo>
                  <a:pt x="1370968" y="770698"/>
                  <a:pt x="1401314" y="779059"/>
                  <a:pt x="1415528" y="803101"/>
                </a:cubicBezTo>
                <a:cubicBezTo>
                  <a:pt x="1429741" y="827143"/>
                  <a:pt x="1422440" y="857761"/>
                  <a:pt x="1399220" y="871489"/>
                </a:cubicBezTo>
                <a:close/>
                <a:moveTo>
                  <a:pt x="1125898" y="1171310"/>
                </a:moveTo>
                <a:cubicBezTo>
                  <a:pt x="1102678" y="1185038"/>
                  <a:pt x="1072332" y="1176677"/>
                  <a:pt x="1058118" y="1152635"/>
                </a:cubicBezTo>
                <a:cubicBezTo>
                  <a:pt x="1043905" y="1128594"/>
                  <a:pt x="1051205" y="1097975"/>
                  <a:pt x="1074426" y="1084247"/>
                </a:cubicBezTo>
                <a:cubicBezTo>
                  <a:pt x="1097646" y="1070519"/>
                  <a:pt x="1127992" y="1078880"/>
                  <a:pt x="1142206" y="1102922"/>
                </a:cubicBezTo>
                <a:cubicBezTo>
                  <a:pt x="1156420" y="1126964"/>
                  <a:pt x="1149119" y="1157582"/>
                  <a:pt x="1125898" y="1171310"/>
                </a:cubicBezTo>
                <a:close/>
              </a:path>
            </a:pathLst>
          </a:custGeom>
          <a:solidFill>
            <a:srgbClr val="FFFFFF"/>
          </a:solidFill>
          <a:ln w="3175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92" name="Group 91"/>
          <p:cNvGrpSpPr/>
          <p:nvPr userDrawn="1"/>
        </p:nvGrpSpPr>
        <p:grpSpPr bwMode="black">
          <a:xfrm>
            <a:off x="340829" y="2579717"/>
            <a:ext cx="296348" cy="318722"/>
            <a:chOff x="1435100" y="3879850"/>
            <a:chExt cx="739775" cy="795338"/>
          </a:xfrm>
          <a:solidFill>
            <a:schemeClr val="tx1"/>
          </a:solidFill>
        </p:grpSpPr>
        <p:sp>
          <p:nvSpPr>
            <p:cNvPr id="93" name="Freeform 6"/>
            <p:cNvSpPr>
              <a:spLocks/>
            </p:cNvSpPr>
            <p:nvPr/>
          </p:nvSpPr>
          <p:spPr bwMode="black">
            <a:xfrm>
              <a:off x="1435100" y="4191000"/>
              <a:ext cx="106363" cy="106363"/>
            </a:xfrm>
            <a:custGeom>
              <a:avLst/>
              <a:gdLst>
                <a:gd name="T0" fmla="*/ 15 w 67"/>
                <a:gd name="T1" fmla="*/ 67 h 67"/>
                <a:gd name="T2" fmla="*/ 15 w 67"/>
                <a:gd name="T3" fmla="*/ 66 h 67"/>
                <a:gd name="T4" fmla="*/ 33 w 67"/>
                <a:gd name="T5" fmla="*/ 48 h 67"/>
                <a:gd name="T6" fmla="*/ 52 w 67"/>
                <a:gd name="T7" fmla="*/ 67 h 67"/>
                <a:gd name="T8" fmla="*/ 67 w 67"/>
                <a:gd name="T9" fmla="*/ 52 h 67"/>
                <a:gd name="T10" fmla="*/ 66 w 67"/>
                <a:gd name="T11" fmla="*/ 51 h 67"/>
                <a:gd name="T12" fmla="*/ 48 w 67"/>
                <a:gd name="T13" fmla="*/ 33 h 67"/>
                <a:gd name="T14" fmla="*/ 67 w 67"/>
                <a:gd name="T15" fmla="*/ 15 h 67"/>
                <a:gd name="T16" fmla="*/ 52 w 67"/>
                <a:gd name="T17" fmla="*/ 0 h 67"/>
                <a:gd name="T18" fmla="*/ 33 w 67"/>
                <a:gd name="T19" fmla="*/ 19 h 67"/>
                <a:gd name="T20" fmla="*/ 15 w 67"/>
                <a:gd name="T21" fmla="*/ 0 h 67"/>
                <a:gd name="T22" fmla="*/ 0 w 67"/>
                <a:gd name="T23" fmla="*/ 15 h 67"/>
                <a:gd name="T24" fmla="*/ 19 w 67"/>
                <a:gd name="T25" fmla="*/ 33 h 67"/>
                <a:gd name="T26" fmla="*/ 0 w 67"/>
                <a:gd name="T27" fmla="*/ 52 h 67"/>
                <a:gd name="T28" fmla="*/ 15 w 67"/>
                <a:gd name="T2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" h="67">
                  <a:moveTo>
                    <a:pt x="15" y="67"/>
                  </a:moveTo>
                  <a:lnTo>
                    <a:pt x="15" y="66"/>
                  </a:lnTo>
                  <a:lnTo>
                    <a:pt x="33" y="48"/>
                  </a:lnTo>
                  <a:lnTo>
                    <a:pt x="52" y="67"/>
                  </a:lnTo>
                  <a:lnTo>
                    <a:pt x="67" y="52"/>
                  </a:lnTo>
                  <a:lnTo>
                    <a:pt x="66" y="51"/>
                  </a:lnTo>
                  <a:lnTo>
                    <a:pt x="48" y="33"/>
                  </a:lnTo>
                  <a:lnTo>
                    <a:pt x="67" y="15"/>
                  </a:lnTo>
                  <a:lnTo>
                    <a:pt x="52" y="0"/>
                  </a:lnTo>
                  <a:lnTo>
                    <a:pt x="33" y="19"/>
                  </a:lnTo>
                  <a:lnTo>
                    <a:pt x="15" y="0"/>
                  </a:lnTo>
                  <a:lnTo>
                    <a:pt x="0" y="15"/>
                  </a:lnTo>
                  <a:lnTo>
                    <a:pt x="19" y="33"/>
                  </a:lnTo>
                  <a:lnTo>
                    <a:pt x="0" y="52"/>
                  </a:lnTo>
                  <a:lnTo>
                    <a:pt x="15" y="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" name="Freeform 7"/>
            <p:cNvSpPr>
              <a:spLocks/>
            </p:cNvSpPr>
            <p:nvPr/>
          </p:nvSpPr>
          <p:spPr bwMode="black">
            <a:xfrm>
              <a:off x="1620838" y="4208463"/>
              <a:ext cx="106363" cy="104775"/>
            </a:xfrm>
            <a:custGeom>
              <a:avLst/>
              <a:gdLst>
                <a:gd name="T0" fmla="*/ 66 w 67"/>
                <a:gd name="T1" fmla="*/ 51 h 66"/>
                <a:gd name="T2" fmla="*/ 48 w 67"/>
                <a:gd name="T3" fmla="*/ 33 h 66"/>
                <a:gd name="T4" fmla="*/ 67 w 67"/>
                <a:gd name="T5" fmla="*/ 14 h 66"/>
                <a:gd name="T6" fmla="*/ 52 w 67"/>
                <a:gd name="T7" fmla="*/ 0 h 66"/>
                <a:gd name="T8" fmla="*/ 33 w 67"/>
                <a:gd name="T9" fmla="*/ 18 h 66"/>
                <a:gd name="T10" fmla="*/ 15 w 67"/>
                <a:gd name="T11" fmla="*/ 0 h 66"/>
                <a:gd name="T12" fmla="*/ 0 w 67"/>
                <a:gd name="T13" fmla="*/ 14 h 66"/>
                <a:gd name="T14" fmla="*/ 19 w 67"/>
                <a:gd name="T15" fmla="*/ 33 h 66"/>
                <a:gd name="T16" fmla="*/ 0 w 67"/>
                <a:gd name="T17" fmla="*/ 51 h 66"/>
                <a:gd name="T18" fmla="*/ 15 w 67"/>
                <a:gd name="T19" fmla="*/ 66 h 66"/>
                <a:gd name="T20" fmla="*/ 15 w 67"/>
                <a:gd name="T21" fmla="*/ 66 h 66"/>
                <a:gd name="T22" fmla="*/ 33 w 67"/>
                <a:gd name="T23" fmla="*/ 48 h 66"/>
                <a:gd name="T24" fmla="*/ 52 w 67"/>
                <a:gd name="T25" fmla="*/ 66 h 66"/>
                <a:gd name="T26" fmla="*/ 67 w 67"/>
                <a:gd name="T27" fmla="*/ 51 h 66"/>
                <a:gd name="T28" fmla="*/ 66 w 67"/>
                <a:gd name="T29" fmla="*/ 5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" h="66">
                  <a:moveTo>
                    <a:pt x="66" y="51"/>
                  </a:moveTo>
                  <a:lnTo>
                    <a:pt x="48" y="33"/>
                  </a:lnTo>
                  <a:lnTo>
                    <a:pt x="67" y="14"/>
                  </a:lnTo>
                  <a:lnTo>
                    <a:pt x="52" y="0"/>
                  </a:lnTo>
                  <a:lnTo>
                    <a:pt x="33" y="18"/>
                  </a:lnTo>
                  <a:lnTo>
                    <a:pt x="15" y="0"/>
                  </a:lnTo>
                  <a:lnTo>
                    <a:pt x="0" y="14"/>
                  </a:lnTo>
                  <a:lnTo>
                    <a:pt x="19" y="33"/>
                  </a:lnTo>
                  <a:lnTo>
                    <a:pt x="0" y="51"/>
                  </a:lnTo>
                  <a:lnTo>
                    <a:pt x="15" y="66"/>
                  </a:lnTo>
                  <a:lnTo>
                    <a:pt x="15" y="66"/>
                  </a:lnTo>
                  <a:lnTo>
                    <a:pt x="33" y="48"/>
                  </a:lnTo>
                  <a:lnTo>
                    <a:pt x="52" y="66"/>
                  </a:lnTo>
                  <a:lnTo>
                    <a:pt x="67" y="51"/>
                  </a:lnTo>
                  <a:lnTo>
                    <a:pt x="66" y="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" name="Freeform 8"/>
            <p:cNvSpPr>
              <a:spLocks/>
            </p:cNvSpPr>
            <p:nvPr/>
          </p:nvSpPr>
          <p:spPr bwMode="black">
            <a:xfrm>
              <a:off x="1876425" y="4184650"/>
              <a:ext cx="104775" cy="104775"/>
            </a:xfrm>
            <a:custGeom>
              <a:avLst/>
              <a:gdLst>
                <a:gd name="T0" fmla="*/ 14 w 66"/>
                <a:gd name="T1" fmla="*/ 66 h 66"/>
                <a:gd name="T2" fmla="*/ 15 w 66"/>
                <a:gd name="T3" fmla="*/ 66 h 66"/>
                <a:gd name="T4" fmla="*/ 33 w 66"/>
                <a:gd name="T5" fmla="*/ 48 h 66"/>
                <a:gd name="T6" fmla="*/ 52 w 66"/>
                <a:gd name="T7" fmla="*/ 66 h 66"/>
                <a:gd name="T8" fmla="*/ 66 w 66"/>
                <a:gd name="T9" fmla="*/ 51 h 66"/>
                <a:gd name="T10" fmla="*/ 66 w 66"/>
                <a:gd name="T11" fmla="*/ 51 h 66"/>
                <a:gd name="T12" fmla="*/ 48 w 66"/>
                <a:gd name="T13" fmla="*/ 33 h 66"/>
                <a:gd name="T14" fmla="*/ 66 w 66"/>
                <a:gd name="T15" fmla="*/ 14 h 66"/>
                <a:gd name="T16" fmla="*/ 52 w 66"/>
                <a:gd name="T17" fmla="*/ 0 h 66"/>
                <a:gd name="T18" fmla="*/ 33 w 66"/>
                <a:gd name="T19" fmla="*/ 18 h 66"/>
                <a:gd name="T20" fmla="*/ 14 w 66"/>
                <a:gd name="T21" fmla="*/ 0 h 66"/>
                <a:gd name="T22" fmla="*/ 0 w 66"/>
                <a:gd name="T23" fmla="*/ 14 h 66"/>
                <a:gd name="T24" fmla="*/ 18 w 66"/>
                <a:gd name="T25" fmla="*/ 33 h 66"/>
                <a:gd name="T26" fmla="*/ 0 w 66"/>
                <a:gd name="T27" fmla="*/ 51 h 66"/>
                <a:gd name="T28" fmla="*/ 14 w 66"/>
                <a:gd name="T2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66">
                  <a:moveTo>
                    <a:pt x="14" y="66"/>
                  </a:moveTo>
                  <a:lnTo>
                    <a:pt x="15" y="66"/>
                  </a:lnTo>
                  <a:lnTo>
                    <a:pt x="33" y="48"/>
                  </a:lnTo>
                  <a:lnTo>
                    <a:pt x="52" y="66"/>
                  </a:lnTo>
                  <a:lnTo>
                    <a:pt x="66" y="51"/>
                  </a:lnTo>
                  <a:lnTo>
                    <a:pt x="66" y="51"/>
                  </a:lnTo>
                  <a:lnTo>
                    <a:pt x="48" y="33"/>
                  </a:lnTo>
                  <a:lnTo>
                    <a:pt x="66" y="14"/>
                  </a:lnTo>
                  <a:lnTo>
                    <a:pt x="52" y="0"/>
                  </a:lnTo>
                  <a:lnTo>
                    <a:pt x="33" y="18"/>
                  </a:lnTo>
                  <a:lnTo>
                    <a:pt x="14" y="0"/>
                  </a:lnTo>
                  <a:lnTo>
                    <a:pt x="0" y="14"/>
                  </a:lnTo>
                  <a:lnTo>
                    <a:pt x="18" y="33"/>
                  </a:lnTo>
                  <a:lnTo>
                    <a:pt x="0" y="51"/>
                  </a:lnTo>
                  <a:lnTo>
                    <a:pt x="14" y="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" name="Freeform 9"/>
            <p:cNvSpPr>
              <a:spLocks/>
            </p:cNvSpPr>
            <p:nvPr/>
          </p:nvSpPr>
          <p:spPr bwMode="black">
            <a:xfrm>
              <a:off x="1498600" y="3879850"/>
              <a:ext cx="336550" cy="795338"/>
            </a:xfrm>
            <a:custGeom>
              <a:avLst/>
              <a:gdLst>
                <a:gd name="T0" fmla="*/ 938 w 1156"/>
                <a:gd name="T1" fmla="*/ 2724 h 2724"/>
                <a:gd name="T2" fmla="*/ 1139 w 1156"/>
                <a:gd name="T3" fmla="*/ 2523 h 2724"/>
                <a:gd name="T4" fmla="*/ 1036 w 1156"/>
                <a:gd name="T5" fmla="*/ 2347 h 2724"/>
                <a:gd name="T6" fmla="*/ 1156 w 1156"/>
                <a:gd name="T7" fmla="*/ 1686 h 2724"/>
                <a:gd name="T8" fmla="*/ 953 w 1156"/>
                <a:gd name="T9" fmla="*/ 884 h 2724"/>
                <a:gd name="T10" fmla="*/ 188 w 1156"/>
                <a:gd name="T11" fmla="*/ 128 h 2724"/>
                <a:gd name="T12" fmla="*/ 327 w 1156"/>
                <a:gd name="T13" fmla="*/ 90 h 2724"/>
                <a:gd name="T14" fmla="*/ 302 w 1156"/>
                <a:gd name="T15" fmla="*/ 0 h 2724"/>
                <a:gd name="T16" fmla="*/ 0 w 1156"/>
                <a:gd name="T17" fmla="*/ 82 h 2724"/>
                <a:gd name="T18" fmla="*/ 83 w 1156"/>
                <a:gd name="T19" fmla="*/ 385 h 2724"/>
                <a:gd name="T20" fmla="*/ 173 w 1156"/>
                <a:gd name="T21" fmla="*/ 360 h 2724"/>
                <a:gd name="T22" fmla="*/ 135 w 1156"/>
                <a:gd name="T23" fmla="*/ 223 h 2724"/>
                <a:gd name="T24" fmla="*/ 858 w 1156"/>
                <a:gd name="T25" fmla="*/ 937 h 2724"/>
                <a:gd name="T26" fmla="*/ 1047 w 1156"/>
                <a:gd name="T27" fmla="*/ 1686 h 2724"/>
                <a:gd name="T28" fmla="*/ 979 w 1156"/>
                <a:gd name="T29" fmla="*/ 2171 h 2724"/>
                <a:gd name="T30" fmla="*/ 933 w 1156"/>
                <a:gd name="T31" fmla="*/ 2312 h 2724"/>
                <a:gd name="T32" fmla="*/ 929 w 1156"/>
                <a:gd name="T33" fmla="*/ 2321 h 2724"/>
                <a:gd name="T34" fmla="*/ 736 w 1156"/>
                <a:gd name="T35" fmla="*/ 2523 h 2724"/>
                <a:gd name="T36" fmla="*/ 938 w 1156"/>
                <a:gd name="T37" fmla="*/ 2724 h 2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56" h="2724">
                  <a:moveTo>
                    <a:pt x="938" y="2724"/>
                  </a:moveTo>
                  <a:cubicBezTo>
                    <a:pt x="1049" y="2724"/>
                    <a:pt x="1139" y="2634"/>
                    <a:pt x="1139" y="2523"/>
                  </a:cubicBezTo>
                  <a:cubicBezTo>
                    <a:pt x="1139" y="2447"/>
                    <a:pt x="1098" y="2382"/>
                    <a:pt x="1036" y="2347"/>
                  </a:cubicBezTo>
                  <a:cubicBezTo>
                    <a:pt x="1078" y="2239"/>
                    <a:pt x="1156" y="1994"/>
                    <a:pt x="1156" y="1686"/>
                  </a:cubicBezTo>
                  <a:cubicBezTo>
                    <a:pt x="1156" y="1444"/>
                    <a:pt x="1108" y="1164"/>
                    <a:pt x="953" y="884"/>
                  </a:cubicBezTo>
                  <a:cubicBezTo>
                    <a:pt x="807" y="619"/>
                    <a:pt x="566" y="356"/>
                    <a:pt x="188" y="128"/>
                  </a:cubicBezTo>
                  <a:cubicBezTo>
                    <a:pt x="327" y="90"/>
                    <a:pt x="327" y="90"/>
                    <a:pt x="327" y="90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83" y="385"/>
                    <a:pt x="83" y="385"/>
                    <a:pt x="83" y="385"/>
                  </a:cubicBezTo>
                  <a:cubicBezTo>
                    <a:pt x="173" y="360"/>
                    <a:pt x="173" y="360"/>
                    <a:pt x="173" y="360"/>
                  </a:cubicBezTo>
                  <a:cubicBezTo>
                    <a:pt x="135" y="223"/>
                    <a:pt x="135" y="223"/>
                    <a:pt x="135" y="223"/>
                  </a:cubicBezTo>
                  <a:cubicBezTo>
                    <a:pt x="497" y="443"/>
                    <a:pt x="721" y="690"/>
                    <a:pt x="858" y="937"/>
                  </a:cubicBezTo>
                  <a:cubicBezTo>
                    <a:pt x="1002" y="1198"/>
                    <a:pt x="1047" y="1459"/>
                    <a:pt x="1047" y="1686"/>
                  </a:cubicBezTo>
                  <a:cubicBezTo>
                    <a:pt x="1047" y="1881"/>
                    <a:pt x="1013" y="2051"/>
                    <a:pt x="979" y="2171"/>
                  </a:cubicBezTo>
                  <a:cubicBezTo>
                    <a:pt x="963" y="2231"/>
                    <a:pt x="946" y="2279"/>
                    <a:pt x="933" y="2312"/>
                  </a:cubicBezTo>
                  <a:cubicBezTo>
                    <a:pt x="932" y="2315"/>
                    <a:pt x="931" y="2318"/>
                    <a:pt x="929" y="2321"/>
                  </a:cubicBezTo>
                  <a:cubicBezTo>
                    <a:pt x="822" y="2326"/>
                    <a:pt x="736" y="2414"/>
                    <a:pt x="736" y="2523"/>
                  </a:cubicBezTo>
                  <a:cubicBezTo>
                    <a:pt x="736" y="2634"/>
                    <a:pt x="826" y="2724"/>
                    <a:pt x="938" y="27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" name="Oval 10"/>
            <p:cNvSpPr>
              <a:spLocks noChangeArrowheads="1"/>
            </p:cNvSpPr>
            <p:nvPr/>
          </p:nvSpPr>
          <p:spPr bwMode="black">
            <a:xfrm>
              <a:off x="1744663" y="4589463"/>
              <a:ext cx="53975" cy="539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" name="Freeform 11"/>
            <p:cNvSpPr>
              <a:spLocks/>
            </p:cNvSpPr>
            <p:nvPr/>
          </p:nvSpPr>
          <p:spPr bwMode="black">
            <a:xfrm>
              <a:off x="1860550" y="4225925"/>
              <a:ext cx="314325" cy="350838"/>
            </a:xfrm>
            <a:custGeom>
              <a:avLst/>
              <a:gdLst>
                <a:gd name="T0" fmla="*/ 695 w 1079"/>
                <a:gd name="T1" fmla="*/ 124 h 1206"/>
                <a:gd name="T2" fmla="*/ 834 w 1079"/>
                <a:gd name="T3" fmla="*/ 90 h 1206"/>
                <a:gd name="T4" fmla="*/ 812 w 1079"/>
                <a:gd name="T5" fmla="*/ 0 h 1206"/>
                <a:gd name="T6" fmla="*/ 507 w 1079"/>
                <a:gd name="T7" fmla="*/ 73 h 1206"/>
                <a:gd name="T8" fmla="*/ 580 w 1079"/>
                <a:gd name="T9" fmla="*/ 378 h 1206"/>
                <a:gd name="T10" fmla="*/ 671 w 1079"/>
                <a:gd name="T11" fmla="*/ 356 h 1206"/>
                <a:gd name="T12" fmla="*/ 638 w 1079"/>
                <a:gd name="T13" fmla="*/ 217 h 1206"/>
                <a:gd name="T14" fmla="*/ 924 w 1079"/>
                <a:gd name="T15" fmla="*/ 392 h 1206"/>
                <a:gd name="T16" fmla="*/ 528 w 1079"/>
                <a:gd name="T17" fmla="*/ 753 h 1206"/>
                <a:gd name="T18" fmla="*/ 362 w 1079"/>
                <a:gd name="T19" fmla="*/ 844 h 1206"/>
                <a:gd name="T20" fmla="*/ 337 w 1079"/>
                <a:gd name="T21" fmla="*/ 856 h 1206"/>
                <a:gd name="T22" fmla="*/ 201 w 1079"/>
                <a:gd name="T23" fmla="*/ 803 h 1206"/>
                <a:gd name="T24" fmla="*/ 0 w 1079"/>
                <a:gd name="T25" fmla="*/ 1005 h 1206"/>
                <a:gd name="T26" fmla="*/ 201 w 1079"/>
                <a:gd name="T27" fmla="*/ 1206 h 1206"/>
                <a:gd name="T28" fmla="*/ 403 w 1079"/>
                <a:gd name="T29" fmla="*/ 1005 h 1206"/>
                <a:gd name="T30" fmla="*/ 395 w 1079"/>
                <a:gd name="T31" fmla="*/ 949 h 1206"/>
                <a:gd name="T32" fmla="*/ 1047 w 1079"/>
                <a:gd name="T33" fmla="*/ 406 h 1206"/>
                <a:gd name="T34" fmla="*/ 1079 w 1079"/>
                <a:gd name="T35" fmla="*/ 359 h 1206"/>
                <a:gd name="T36" fmla="*/ 695 w 1079"/>
                <a:gd name="T37" fmla="*/ 124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9" h="1206">
                  <a:moveTo>
                    <a:pt x="695" y="124"/>
                  </a:moveTo>
                  <a:cubicBezTo>
                    <a:pt x="834" y="90"/>
                    <a:pt x="834" y="90"/>
                    <a:pt x="834" y="9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507" y="73"/>
                    <a:pt x="507" y="73"/>
                    <a:pt x="507" y="73"/>
                  </a:cubicBezTo>
                  <a:cubicBezTo>
                    <a:pt x="580" y="378"/>
                    <a:pt x="580" y="378"/>
                    <a:pt x="580" y="378"/>
                  </a:cubicBezTo>
                  <a:cubicBezTo>
                    <a:pt x="671" y="356"/>
                    <a:pt x="671" y="356"/>
                    <a:pt x="671" y="356"/>
                  </a:cubicBezTo>
                  <a:cubicBezTo>
                    <a:pt x="638" y="217"/>
                    <a:pt x="638" y="217"/>
                    <a:pt x="638" y="217"/>
                  </a:cubicBezTo>
                  <a:cubicBezTo>
                    <a:pt x="924" y="392"/>
                    <a:pt x="924" y="392"/>
                    <a:pt x="924" y="392"/>
                  </a:cubicBezTo>
                  <a:cubicBezTo>
                    <a:pt x="800" y="559"/>
                    <a:pt x="651" y="677"/>
                    <a:pt x="528" y="753"/>
                  </a:cubicBezTo>
                  <a:cubicBezTo>
                    <a:pt x="462" y="795"/>
                    <a:pt x="403" y="825"/>
                    <a:pt x="362" y="844"/>
                  </a:cubicBezTo>
                  <a:cubicBezTo>
                    <a:pt x="353" y="849"/>
                    <a:pt x="344" y="853"/>
                    <a:pt x="337" y="856"/>
                  </a:cubicBezTo>
                  <a:cubicBezTo>
                    <a:pt x="301" y="823"/>
                    <a:pt x="253" y="803"/>
                    <a:pt x="201" y="803"/>
                  </a:cubicBezTo>
                  <a:cubicBezTo>
                    <a:pt x="90" y="803"/>
                    <a:pt x="0" y="894"/>
                    <a:pt x="0" y="1005"/>
                  </a:cubicBezTo>
                  <a:cubicBezTo>
                    <a:pt x="0" y="1116"/>
                    <a:pt x="90" y="1206"/>
                    <a:pt x="201" y="1206"/>
                  </a:cubicBezTo>
                  <a:cubicBezTo>
                    <a:pt x="312" y="1206"/>
                    <a:pt x="403" y="1116"/>
                    <a:pt x="403" y="1005"/>
                  </a:cubicBezTo>
                  <a:cubicBezTo>
                    <a:pt x="403" y="986"/>
                    <a:pt x="400" y="967"/>
                    <a:pt x="395" y="949"/>
                  </a:cubicBezTo>
                  <a:cubicBezTo>
                    <a:pt x="524" y="891"/>
                    <a:pt x="829" y="729"/>
                    <a:pt x="1047" y="406"/>
                  </a:cubicBezTo>
                  <a:cubicBezTo>
                    <a:pt x="1079" y="359"/>
                    <a:pt x="1079" y="359"/>
                    <a:pt x="1079" y="359"/>
                  </a:cubicBezTo>
                  <a:lnTo>
                    <a:pt x="695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" name="Oval 12"/>
            <p:cNvSpPr>
              <a:spLocks noChangeArrowheads="1"/>
            </p:cNvSpPr>
            <p:nvPr/>
          </p:nvSpPr>
          <p:spPr bwMode="black">
            <a:xfrm>
              <a:off x="1892300" y="4491038"/>
              <a:ext cx="53975" cy="539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Freeform 13"/>
            <p:cNvSpPr>
              <a:spLocks/>
            </p:cNvSpPr>
            <p:nvPr/>
          </p:nvSpPr>
          <p:spPr bwMode="black">
            <a:xfrm>
              <a:off x="1447800" y="4306888"/>
              <a:ext cx="215900" cy="322263"/>
            </a:xfrm>
            <a:custGeom>
              <a:avLst/>
              <a:gdLst>
                <a:gd name="T0" fmla="*/ 537 w 738"/>
                <a:gd name="T1" fmla="*/ 706 h 1109"/>
                <a:gd name="T2" fmla="*/ 506 w 738"/>
                <a:gd name="T3" fmla="*/ 708 h 1109"/>
                <a:gd name="T4" fmla="*/ 273 w 738"/>
                <a:gd name="T5" fmla="*/ 155 h 1109"/>
                <a:gd name="T6" fmla="*/ 408 w 738"/>
                <a:gd name="T7" fmla="*/ 101 h 1109"/>
                <a:gd name="T8" fmla="*/ 368 w 738"/>
                <a:gd name="T9" fmla="*/ 0 h 1109"/>
                <a:gd name="T10" fmla="*/ 0 w 738"/>
                <a:gd name="T11" fmla="*/ 147 h 1109"/>
                <a:gd name="T12" fmla="*/ 41 w 738"/>
                <a:gd name="T13" fmla="*/ 248 h 1109"/>
                <a:gd name="T14" fmla="*/ 172 w 738"/>
                <a:gd name="T15" fmla="*/ 195 h 1109"/>
                <a:gd name="T16" fmla="*/ 407 w 738"/>
                <a:gd name="T17" fmla="*/ 753 h 1109"/>
                <a:gd name="T18" fmla="*/ 335 w 738"/>
                <a:gd name="T19" fmla="*/ 908 h 1109"/>
                <a:gd name="T20" fmla="*/ 537 w 738"/>
                <a:gd name="T21" fmla="*/ 1109 h 1109"/>
                <a:gd name="T22" fmla="*/ 738 w 738"/>
                <a:gd name="T23" fmla="*/ 908 h 1109"/>
                <a:gd name="T24" fmla="*/ 537 w 738"/>
                <a:gd name="T25" fmla="*/ 706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8" h="1109">
                  <a:moveTo>
                    <a:pt x="537" y="706"/>
                  </a:moveTo>
                  <a:cubicBezTo>
                    <a:pt x="526" y="706"/>
                    <a:pt x="516" y="707"/>
                    <a:pt x="506" y="708"/>
                  </a:cubicBezTo>
                  <a:cubicBezTo>
                    <a:pt x="273" y="155"/>
                    <a:pt x="273" y="155"/>
                    <a:pt x="273" y="155"/>
                  </a:cubicBezTo>
                  <a:cubicBezTo>
                    <a:pt x="408" y="101"/>
                    <a:pt x="408" y="101"/>
                    <a:pt x="408" y="101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41" y="248"/>
                    <a:pt x="41" y="248"/>
                    <a:pt x="41" y="248"/>
                  </a:cubicBezTo>
                  <a:cubicBezTo>
                    <a:pt x="172" y="195"/>
                    <a:pt x="172" y="195"/>
                    <a:pt x="172" y="195"/>
                  </a:cubicBezTo>
                  <a:cubicBezTo>
                    <a:pt x="407" y="753"/>
                    <a:pt x="407" y="753"/>
                    <a:pt x="407" y="753"/>
                  </a:cubicBezTo>
                  <a:cubicBezTo>
                    <a:pt x="363" y="790"/>
                    <a:pt x="335" y="846"/>
                    <a:pt x="335" y="908"/>
                  </a:cubicBezTo>
                  <a:cubicBezTo>
                    <a:pt x="335" y="1019"/>
                    <a:pt x="425" y="1109"/>
                    <a:pt x="537" y="1109"/>
                  </a:cubicBezTo>
                  <a:cubicBezTo>
                    <a:pt x="648" y="1109"/>
                    <a:pt x="738" y="1019"/>
                    <a:pt x="738" y="908"/>
                  </a:cubicBezTo>
                  <a:cubicBezTo>
                    <a:pt x="738" y="796"/>
                    <a:pt x="648" y="706"/>
                    <a:pt x="537" y="70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Oval 14"/>
            <p:cNvSpPr>
              <a:spLocks noChangeArrowheads="1"/>
            </p:cNvSpPr>
            <p:nvPr/>
          </p:nvSpPr>
          <p:spPr bwMode="black">
            <a:xfrm>
              <a:off x="1577975" y="4543425"/>
              <a:ext cx="53975" cy="539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6" name="Content Placeholder 47"/>
          <p:cNvSpPr>
            <a:spLocks noGrp="1"/>
          </p:cNvSpPr>
          <p:nvPr>
            <p:ph sz="quarter" idx="24" hasCustomPrompt="1"/>
          </p:nvPr>
        </p:nvSpPr>
        <p:spPr>
          <a:xfrm>
            <a:off x="235733" y="2949282"/>
            <a:ext cx="3767638" cy="1382273"/>
          </a:xfrm>
        </p:spPr>
        <p:txBody>
          <a:bodyPr lIns="45720" tIns="45720" rIns="45720"/>
          <a:lstStyle>
            <a:lvl1pPr marL="171381" indent="-171381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lang="en-US" sz="1200" kern="1200" spc="0" baseline="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171381" indent="-171381">
              <a:buFont typeface="Wingdings" panose="05000000000000000000" pitchFamily="2" charset="2"/>
              <a:buChar char="§"/>
              <a:defRPr lang="en-US" sz="1100" kern="1200" spc="-71" baseline="0" dirty="0" smtClean="0">
                <a:solidFill>
                  <a:schemeClr val="accent6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285636" indent="-171381">
              <a:buFont typeface="Wingdings" panose="05000000000000000000" pitchFamily="2" charset="2"/>
              <a:buChar char="§"/>
              <a:defRPr sz="1100"/>
            </a:lvl3pPr>
            <a:lvl4pPr marL="349110" indent="-171381">
              <a:buFont typeface="Wingdings" panose="05000000000000000000" pitchFamily="2" charset="2"/>
              <a:buChar char="§"/>
              <a:defRPr sz="1050"/>
            </a:lvl4pPr>
            <a:lvl5pPr marL="349110" indent="-171381">
              <a:buFont typeface="Wingdings" panose="05000000000000000000" pitchFamily="2" charset="2"/>
              <a:buChar char="§"/>
              <a:defRPr sz="105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Content Placeholder 47"/>
          <p:cNvSpPr>
            <a:spLocks noGrp="1"/>
          </p:cNvSpPr>
          <p:nvPr>
            <p:ph sz="quarter" idx="25" hasCustomPrompt="1"/>
          </p:nvPr>
        </p:nvSpPr>
        <p:spPr>
          <a:xfrm>
            <a:off x="235733" y="5164712"/>
            <a:ext cx="3767638" cy="1382273"/>
          </a:xfrm>
        </p:spPr>
        <p:txBody>
          <a:bodyPr lIns="45720" tIns="45720" rIns="45720"/>
          <a:lstStyle>
            <a:lvl1pPr marL="171381" indent="-171381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lang="en-US" sz="1200" kern="1200" spc="0" baseline="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171381" indent="-171381">
              <a:buFont typeface="Wingdings" panose="05000000000000000000" pitchFamily="2" charset="2"/>
              <a:buChar char="§"/>
              <a:defRPr lang="en-US" sz="1100" kern="1200" spc="-71" baseline="0" dirty="0" smtClean="0">
                <a:solidFill>
                  <a:schemeClr val="accent6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285636" indent="-171381">
              <a:buFont typeface="Wingdings" panose="05000000000000000000" pitchFamily="2" charset="2"/>
              <a:buChar char="§"/>
              <a:defRPr sz="1100"/>
            </a:lvl3pPr>
            <a:lvl4pPr marL="349110" indent="-171381">
              <a:buFont typeface="Wingdings" panose="05000000000000000000" pitchFamily="2" charset="2"/>
              <a:buChar char="§"/>
              <a:defRPr sz="1050"/>
            </a:lvl4pPr>
            <a:lvl5pPr marL="349110" indent="-171381">
              <a:buFont typeface="Wingdings" panose="05000000000000000000" pitchFamily="2" charset="2"/>
              <a:buChar char="§"/>
              <a:defRPr sz="105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9"/>
          </p:nvPr>
        </p:nvSpPr>
        <p:spPr>
          <a:xfrm>
            <a:off x="9100615" y="693145"/>
            <a:ext cx="3043779" cy="955509"/>
          </a:xfrm>
        </p:spPr>
        <p:txBody>
          <a:bodyPr rIns="45720" anchor="ctr"/>
          <a:lstStyle>
            <a:lvl1pPr marL="0" indent="0">
              <a:buFontTx/>
              <a:buNone/>
              <a:defRPr sz="1399" spc="0" baseline="0">
                <a:solidFill>
                  <a:schemeClr val="bg1"/>
                </a:solidFill>
              </a:defRPr>
            </a:lvl1pPr>
            <a:lvl2pPr marL="57127" indent="0">
              <a:buFontTx/>
              <a:buNone/>
              <a:defRPr sz="1200" spc="0" baseline="0">
                <a:solidFill>
                  <a:schemeClr val="bg1"/>
                </a:solidFill>
              </a:defRPr>
            </a:lvl2pPr>
            <a:lvl3pPr marL="111081" indent="0">
              <a:buFontTx/>
              <a:buNone/>
              <a:defRPr sz="1200" spc="0" baseline="0">
                <a:solidFill>
                  <a:schemeClr val="bg1"/>
                </a:solidFill>
              </a:defRPr>
            </a:lvl3pPr>
            <a:lvl4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4pPr>
            <a:lvl5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sz="quarter" idx="30"/>
          </p:nvPr>
        </p:nvSpPr>
        <p:spPr>
          <a:xfrm>
            <a:off x="9100615" y="1768989"/>
            <a:ext cx="3043779" cy="955509"/>
          </a:xfrm>
        </p:spPr>
        <p:txBody>
          <a:bodyPr rIns="45720" anchor="ctr"/>
          <a:lstStyle>
            <a:lvl1pPr marL="0" indent="0">
              <a:buFontTx/>
              <a:buNone/>
              <a:defRPr sz="1399" spc="0" baseline="0">
                <a:solidFill>
                  <a:schemeClr val="bg1"/>
                </a:solidFill>
              </a:defRPr>
            </a:lvl1pPr>
            <a:lvl2pPr marL="57127" indent="0">
              <a:buFontTx/>
              <a:buNone/>
              <a:defRPr sz="1200" spc="0" baseline="0">
                <a:solidFill>
                  <a:schemeClr val="bg1"/>
                </a:solidFill>
              </a:defRPr>
            </a:lvl2pPr>
            <a:lvl3pPr marL="111081" indent="0">
              <a:buFontTx/>
              <a:buNone/>
              <a:defRPr sz="1200" spc="0" baseline="0">
                <a:solidFill>
                  <a:schemeClr val="bg1"/>
                </a:solidFill>
              </a:defRPr>
            </a:lvl3pPr>
            <a:lvl4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4pPr>
            <a:lvl5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9100615" y="2844447"/>
            <a:ext cx="3043779" cy="955509"/>
          </a:xfrm>
        </p:spPr>
        <p:txBody>
          <a:bodyPr rIns="45720" anchor="ctr"/>
          <a:lstStyle>
            <a:lvl1pPr marL="0" indent="0">
              <a:buFontTx/>
              <a:buNone/>
              <a:defRPr sz="1399" spc="0" baseline="0">
                <a:solidFill>
                  <a:schemeClr val="bg1"/>
                </a:solidFill>
              </a:defRPr>
            </a:lvl1pPr>
            <a:lvl2pPr marL="57127" indent="0">
              <a:buFontTx/>
              <a:buNone/>
              <a:defRPr sz="1200" spc="0" baseline="0">
                <a:solidFill>
                  <a:schemeClr val="bg1"/>
                </a:solidFill>
              </a:defRPr>
            </a:lvl2pPr>
            <a:lvl3pPr marL="111081" indent="0">
              <a:buFontTx/>
              <a:buNone/>
              <a:defRPr sz="1200" spc="0" baseline="0">
                <a:solidFill>
                  <a:schemeClr val="bg1"/>
                </a:solidFill>
              </a:defRPr>
            </a:lvl3pPr>
            <a:lvl4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4pPr>
            <a:lvl5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097233" y="3963679"/>
            <a:ext cx="1869512" cy="355306"/>
            <a:chOff x="7908758" y="5507034"/>
            <a:chExt cx="1870242" cy="355224"/>
          </a:xfrm>
        </p:grpSpPr>
        <p:sp>
          <p:nvSpPr>
            <p:cNvPr id="45" name="Rectangle 44"/>
            <p:cNvSpPr/>
            <p:nvPr userDrawn="1"/>
          </p:nvSpPr>
          <p:spPr bwMode="auto">
            <a:xfrm>
              <a:off x="7908758" y="5507034"/>
              <a:ext cx="1870242" cy="35522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99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Knowledge</a:t>
              </a:r>
            </a:p>
          </p:txBody>
        </p:sp>
        <p:pic>
          <p:nvPicPr>
            <p:cNvPr id="46" name="Picture 30" descr="service-based.png"/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08558" y="5547486"/>
              <a:ext cx="264616" cy="27432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3" name="Group 12"/>
          <p:cNvGrpSpPr/>
          <p:nvPr userDrawn="1"/>
        </p:nvGrpSpPr>
        <p:grpSpPr>
          <a:xfrm>
            <a:off x="7943754" y="3963679"/>
            <a:ext cx="1869512" cy="355306"/>
            <a:chOff x="7908758" y="3784961"/>
            <a:chExt cx="1870242" cy="355224"/>
          </a:xfrm>
        </p:grpSpPr>
        <p:sp>
          <p:nvSpPr>
            <p:cNvPr id="24" name="Rectangle 23"/>
            <p:cNvSpPr/>
            <p:nvPr userDrawn="1"/>
          </p:nvSpPr>
          <p:spPr bwMode="auto">
            <a:xfrm>
              <a:off x="7908758" y="3784961"/>
              <a:ext cx="1870242" cy="35522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99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Skills</a:t>
              </a:r>
            </a:p>
          </p:txBody>
        </p:sp>
        <p:sp>
          <p:nvSpPr>
            <p:cNvPr id="47" name="Freeform 43"/>
            <p:cNvSpPr>
              <a:spLocks noChangeAspect="1" noEditPoints="1"/>
            </p:cNvSpPr>
            <p:nvPr userDrawn="1"/>
          </p:nvSpPr>
          <p:spPr bwMode="black">
            <a:xfrm>
              <a:off x="8032537" y="3838645"/>
              <a:ext cx="265176" cy="247856"/>
            </a:xfrm>
            <a:custGeom>
              <a:avLst/>
              <a:gdLst>
                <a:gd name="T0" fmla="*/ 106 w 800"/>
                <a:gd name="T1" fmla="*/ 178 h 748"/>
                <a:gd name="T2" fmla="*/ 204 w 800"/>
                <a:gd name="T3" fmla="*/ 88 h 748"/>
                <a:gd name="T4" fmla="*/ 495 w 800"/>
                <a:gd name="T5" fmla="*/ 588 h 748"/>
                <a:gd name="T6" fmla="*/ 398 w 800"/>
                <a:gd name="T7" fmla="*/ 677 h 748"/>
                <a:gd name="T8" fmla="*/ 148 w 800"/>
                <a:gd name="T9" fmla="*/ 300 h 748"/>
                <a:gd name="T10" fmla="*/ 84 w 800"/>
                <a:gd name="T11" fmla="*/ 138 h 748"/>
                <a:gd name="T12" fmla="*/ 49 w 800"/>
                <a:gd name="T13" fmla="*/ 220 h 748"/>
                <a:gd name="T14" fmla="*/ 0 w 800"/>
                <a:gd name="T15" fmla="*/ 499 h 748"/>
                <a:gd name="T16" fmla="*/ 148 w 800"/>
                <a:gd name="T17" fmla="*/ 300 h 748"/>
                <a:gd name="T18" fmla="*/ 263 w 800"/>
                <a:gd name="T19" fmla="*/ 719 h 748"/>
                <a:gd name="T20" fmla="*/ 257 w 800"/>
                <a:gd name="T21" fmla="*/ 657 h 748"/>
                <a:gd name="T22" fmla="*/ 169 w 800"/>
                <a:gd name="T23" fmla="*/ 732 h 748"/>
                <a:gd name="T24" fmla="*/ 229 w 800"/>
                <a:gd name="T25" fmla="*/ 661 h 748"/>
                <a:gd name="T26" fmla="*/ 169 w 800"/>
                <a:gd name="T27" fmla="*/ 732 h 748"/>
                <a:gd name="T28" fmla="*/ 144 w 800"/>
                <a:gd name="T29" fmla="*/ 735 h 748"/>
                <a:gd name="T30" fmla="*/ 138 w 800"/>
                <a:gd name="T31" fmla="*/ 674 h 748"/>
                <a:gd name="T32" fmla="*/ 51 w 800"/>
                <a:gd name="T33" fmla="*/ 748 h 748"/>
                <a:gd name="T34" fmla="*/ 111 w 800"/>
                <a:gd name="T35" fmla="*/ 678 h 748"/>
                <a:gd name="T36" fmla="*/ 51 w 800"/>
                <a:gd name="T37" fmla="*/ 748 h 748"/>
                <a:gd name="T38" fmla="*/ 28 w 800"/>
                <a:gd name="T39" fmla="*/ 716 h 748"/>
                <a:gd name="T40" fmla="*/ 47 w 800"/>
                <a:gd name="T41" fmla="*/ 741 h 748"/>
                <a:gd name="T42" fmla="*/ 351 w 800"/>
                <a:gd name="T43" fmla="*/ 696 h 748"/>
                <a:gd name="T44" fmla="*/ 328 w 800"/>
                <a:gd name="T45" fmla="*/ 659 h 748"/>
                <a:gd name="T46" fmla="*/ 277 w 800"/>
                <a:gd name="T47" fmla="*/ 706 h 748"/>
                <a:gd name="T48" fmla="*/ 457 w 800"/>
                <a:gd name="T49" fmla="*/ 471 h 748"/>
                <a:gd name="T50" fmla="*/ 505 w 800"/>
                <a:gd name="T51" fmla="*/ 567 h 748"/>
                <a:gd name="T52" fmla="*/ 509 w 800"/>
                <a:gd name="T53" fmla="*/ 568 h 748"/>
                <a:gd name="T54" fmla="*/ 516 w 800"/>
                <a:gd name="T55" fmla="*/ 556 h 748"/>
                <a:gd name="T56" fmla="*/ 667 w 800"/>
                <a:gd name="T57" fmla="*/ 326 h 748"/>
                <a:gd name="T58" fmla="*/ 794 w 800"/>
                <a:gd name="T59" fmla="*/ 166 h 748"/>
                <a:gd name="T60" fmla="*/ 715 w 800"/>
                <a:gd name="T61" fmla="*/ 260 h 748"/>
                <a:gd name="T62" fmla="*/ 775 w 800"/>
                <a:gd name="T63" fmla="*/ 124 h 748"/>
                <a:gd name="T64" fmla="*/ 682 w 800"/>
                <a:gd name="T65" fmla="*/ 241 h 748"/>
                <a:gd name="T66" fmla="*/ 742 w 800"/>
                <a:gd name="T67" fmla="*/ 104 h 748"/>
                <a:gd name="T68" fmla="*/ 650 w 800"/>
                <a:gd name="T69" fmla="*/ 221 h 748"/>
                <a:gd name="T70" fmla="*/ 709 w 800"/>
                <a:gd name="T71" fmla="*/ 85 h 748"/>
                <a:gd name="T72" fmla="*/ 589 w 800"/>
                <a:gd name="T73" fmla="*/ 248 h 748"/>
                <a:gd name="T74" fmla="*/ 615 w 800"/>
                <a:gd name="T75" fmla="*/ 294 h 748"/>
                <a:gd name="T76" fmla="*/ 520 w 800"/>
                <a:gd name="T77" fmla="*/ 247 h 748"/>
                <a:gd name="T78" fmla="*/ 490 w 800"/>
                <a:gd name="T79" fmla="*/ 1 h 748"/>
                <a:gd name="T80" fmla="*/ 460 w 800"/>
                <a:gd name="T81" fmla="*/ 249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00" h="748">
                  <a:moveTo>
                    <a:pt x="350" y="661"/>
                  </a:moveTo>
                  <a:cubicBezTo>
                    <a:pt x="106" y="178"/>
                    <a:pt x="106" y="178"/>
                    <a:pt x="106" y="178"/>
                  </a:cubicBezTo>
                  <a:cubicBezTo>
                    <a:pt x="98" y="160"/>
                    <a:pt x="105" y="138"/>
                    <a:pt x="122" y="130"/>
                  </a:cubicBezTo>
                  <a:cubicBezTo>
                    <a:pt x="204" y="88"/>
                    <a:pt x="204" y="88"/>
                    <a:pt x="204" y="88"/>
                  </a:cubicBezTo>
                  <a:cubicBezTo>
                    <a:pt x="222" y="80"/>
                    <a:pt x="244" y="87"/>
                    <a:pt x="252" y="104"/>
                  </a:cubicBezTo>
                  <a:cubicBezTo>
                    <a:pt x="495" y="588"/>
                    <a:pt x="495" y="588"/>
                    <a:pt x="495" y="588"/>
                  </a:cubicBezTo>
                  <a:cubicBezTo>
                    <a:pt x="504" y="605"/>
                    <a:pt x="497" y="627"/>
                    <a:pt x="479" y="636"/>
                  </a:cubicBezTo>
                  <a:cubicBezTo>
                    <a:pt x="398" y="677"/>
                    <a:pt x="398" y="677"/>
                    <a:pt x="398" y="677"/>
                  </a:cubicBezTo>
                  <a:cubicBezTo>
                    <a:pt x="380" y="686"/>
                    <a:pt x="358" y="679"/>
                    <a:pt x="350" y="661"/>
                  </a:cubicBezTo>
                  <a:close/>
                  <a:moveTo>
                    <a:pt x="148" y="300"/>
                  </a:moveTo>
                  <a:cubicBezTo>
                    <a:pt x="83" y="171"/>
                    <a:pt x="83" y="171"/>
                    <a:pt x="83" y="171"/>
                  </a:cubicBezTo>
                  <a:cubicBezTo>
                    <a:pt x="78" y="161"/>
                    <a:pt x="79" y="148"/>
                    <a:pt x="84" y="138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49" y="220"/>
                    <a:pt x="49" y="220"/>
                    <a:pt x="49" y="220"/>
                  </a:cubicBezTo>
                  <a:cubicBezTo>
                    <a:pt x="63" y="223"/>
                    <a:pt x="63" y="223"/>
                    <a:pt x="63" y="223"/>
                  </a:cubicBezTo>
                  <a:cubicBezTo>
                    <a:pt x="49" y="325"/>
                    <a:pt x="0" y="388"/>
                    <a:pt x="0" y="499"/>
                  </a:cubicBezTo>
                  <a:cubicBezTo>
                    <a:pt x="18" y="529"/>
                    <a:pt x="26" y="622"/>
                    <a:pt x="14" y="672"/>
                  </a:cubicBezTo>
                  <a:cubicBezTo>
                    <a:pt x="85" y="555"/>
                    <a:pt x="129" y="431"/>
                    <a:pt x="148" y="300"/>
                  </a:cubicBezTo>
                  <a:close/>
                  <a:moveTo>
                    <a:pt x="230" y="723"/>
                  </a:moveTo>
                  <a:cubicBezTo>
                    <a:pt x="263" y="719"/>
                    <a:pt x="263" y="719"/>
                    <a:pt x="263" y="719"/>
                  </a:cubicBezTo>
                  <a:cubicBezTo>
                    <a:pt x="290" y="653"/>
                    <a:pt x="290" y="653"/>
                    <a:pt x="290" y="653"/>
                  </a:cubicBezTo>
                  <a:cubicBezTo>
                    <a:pt x="257" y="657"/>
                    <a:pt x="257" y="657"/>
                    <a:pt x="257" y="657"/>
                  </a:cubicBezTo>
                  <a:cubicBezTo>
                    <a:pt x="230" y="723"/>
                    <a:pt x="230" y="723"/>
                    <a:pt x="230" y="723"/>
                  </a:cubicBezTo>
                  <a:close/>
                  <a:moveTo>
                    <a:pt x="169" y="732"/>
                  </a:moveTo>
                  <a:cubicBezTo>
                    <a:pt x="202" y="727"/>
                    <a:pt x="202" y="727"/>
                    <a:pt x="202" y="727"/>
                  </a:cubicBezTo>
                  <a:cubicBezTo>
                    <a:pt x="229" y="661"/>
                    <a:pt x="229" y="661"/>
                    <a:pt x="229" y="661"/>
                  </a:cubicBezTo>
                  <a:cubicBezTo>
                    <a:pt x="196" y="666"/>
                    <a:pt x="196" y="666"/>
                    <a:pt x="196" y="666"/>
                  </a:cubicBezTo>
                  <a:cubicBezTo>
                    <a:pt x="169" y="732"/>
                    <a:pt x="169" y="732"/>
                    <a:pt x="169" y="732"/>
                  </a:cubicBezTo>
                  <a:close/>
                  <a:moveTo>
                    <a:pt x="111" y="740"/>
                  </a:moveTo>
                  <a:cubicBezTo>
                    <a:pt x="144" y="735"/>
                    <a:pt x="144" y="735"/>
                    <a:pt x="144" y="735"/>
                  </a:cubicBezTo>
                  <a:cubicBezTo>
                    <a:pt x="171" y="669"/>
                    <a:pt x="171" y="669"/>
                    <a:pt x="171" y="669"/>
                  </a:cubicBezTo>
                  <a:cubicBezTo>
                    <a:pt x="138" y="674"/>
                    <a:pt x="138" y="674"/>
                    <a:pt x="138" y="674"/>
                  </a:cubicBezTo>
                  <a:cubicBezTo>
                    <a:pt x="111" y="740"/>
                    <a:pt x="111" y="740"/>
                    <a:pt x="111" y="740"/>
                  </a:cubicBezTo>
                  <a:close/>
                  <a:moveTo>
                    <a:pt x="51" y="748"/>
                  </a:moveTo>
                  <a:cubicBezTo>
                    <a:pt x="84" y="744"/>
                    <a:pt x="84" y="744"/>
                    <a:pt x="84" y="744"/>
                  </a:cubicBezTo>
                  <a:cubicBezTo>
                    <a:pt x="111" y="678"/>
                    <a:pt x="111" y="678"/>
                    <a:pt x="111" y="678"/>
                  </a:cubicBezTo>
                  <a:cubicBezTo>
                    <a:pt x="78" y="682"/>
                    <a:pt x="78" y="682"/>
                    <a:pt x="78" y="682"/>
                  </a:cubicBezTo>
                  <a:cubicBezTo>
                    <a:pt x="51" y="748"/>
                    <a:pt x="51" y="748"/>
                    <a:pt x="51" y="748"/>
                  </a:cubicBezTo>
                  <a:close/>
                  <a:moveTo>
                    <a:pt x="47" y="741"/>
                  </a:moveTo>
                  <a:cubicBezTo>
                    <a:pt x="28" y="716"/>
                    <a:pt x="28" y="716"/>
                    <a:pt x="28" y="716"/>
                  </a:cubicBezTo>
                  <a:cubicBezTo>
                    <a:pt x="60" y="711"/>
                    <a:pt x="60" y="711"/>
                    <a:pt x="60" y="711"/>
                  </a:cubicBezTo>
                  <a:cubicBezTo>
                    <a:pt x="47" y="741"/>
                    <a:pt x="47" y="741"/>
                    <a:pt x="47" y="741"/>
                  </a:cubicBezTo>
                  <a:close/>
                  <a:moveTo>
                    <a:pt x="277" y="706"/>
                  </a:moveTo>
                  <a:cubicBezTo>
                    <a:pt x="351" y="696"/>
                    <a:pt x="351" y="696"/>
                    <a:pt x="351" y="696"/>
                  </a:cubicBezTo>
                  <a:cubicBezTo>
                    <a:pt x="347" y="693"/>
                    <a:pt x="343" y="689"/>
                    <a:pt x="341" y="684"/>
                  </a:cubicBezTo>
                  <a:cubicBezTo>
                    <a:pt x="328" y="659"/>
                    <a:pt x="328" y="659"/>
                    <a:pt x="328" y="659"/>
                  </a:cubicBezTo>
                  <a:cubicBezTo>
                    <a:pt x="295" y="664"/>
                    <a:pt x="295" y="664"/>
                    <a:pt x="295" y="664"/>
                  </a:cubicBezTo>
                  <a:cubicBezTo>
                    <a:pt x="277" y="706"/>
                    <a:pt x="277" y="706"/>
                    <a:pt x="277" y="706"/>
                  </a:cubicBezTo>
                  <a:close/>
                  <a:moveTo>
                    <a:pt x="460" y="249"/>
                  </a:moveTo>
                  <a:cubicBezTo>
                    <a:pt x="457" y="471"/>
                    <a:pt x="457" y="471"/>
                    <a:pt x="457" y="471"/>
                  </a:cubicBezTo>
                  <a:cubicBezTo>
                    <a:pt x="481" y="518"/>
                    <a:pt x="481" y="518"/>
                    <a:pt x="481" y="518"/>
                  </a:cubicBezTo>
                  <a:cubicBezTo>
                    <a:pt x="505" y="567"/>
                    <a:pt x="505" y="567"/>
                    <a:pt x="505" y="567"/>
                  </a:cubicBezTo>
                  <a:cubicBezTo>
                    <a:pt x="507" y="571"/>
                    <a:pt x="507" y="571"/>
                    <a:pt x="507" y="571"/>
                  </a:cubicBezTo>
                  <a:cubicBezTo>
                    <a:pt x="509" y="568"/>
                    <a:pt x="509" y="568"/>
                    <a:pt x="509" y="568"/>
                  </a:cubicBezTo>
                  <a:cubicBezTo>
                    <a:pt x="516" y="568"/>
                    <a:pt x="516" y="568"/>
                    <a:pt x="516" y="568"/>
                  </a:cubicBezTo>
                  <a:cubicBezTo>
                    <a:pt x="516" y="556"/>
                    <a:pt x="516" y="556"/>
                    <a:pt x="516" y="556"/>
                  </a:cubicBezTo>
                  <a:cubicBezTo>
                    <a:pt x="658" y="320"/>
                    <a:pt x="658" y="320"/>
                    <a:pt x="658" y="320"/>
                  </a:cubicBezTo>
                  <a:cubicBezTo>
                    <a:pt x="667" y="326"/>
                    <a:pt x="667" y="326"/>
                    <a:pt x="667" y="326"/>
                  </a:cubicBezTo>
                  <a:cubicBezTo>
                    <a:pt x="680" y="333"/>
                    <a:pt x="696" y="329"/>
                    <a:pt x="703" y="317"/>
                  </a:cubicBezTo>
                  <a:cubicBezTo>
                    <a:pt x="794" y="166"/>
                    <a:pt x="794" y="166"/>
                    <a:pt x="794" y="166"/>
                  </a:cubicBezTo>
                  <a:cubicBezTo>
                    <a:pt x="800" y="156"/>
                    <a:pt x="798" y="143"/>
                    <a:pt x="790" y="134"/>
                  </a:cubicBezTo>
                  <a:cubicBezTo>
                    <a:pt x="715" y="260"/>
                    <a:pt x="715" y="260"/>
                    <a:pt x="715" y="260"/>
                  </a:cubicBezTo>
                  <a:cubicBezTo>
                    <a:pt x="699" y="250"/>
                    <a:pt x="699" y="250"/>
                    <a:pt x="699" y="250"/>
                  </a:cubicBezTo>
                  <a:cubicBezTo>
                    <a:pt x="775" y="124"/>
                    <a:pt x="775" y="124"/>
                    <a:pt x="775" y="124"/>
                  </a:cubicBezTo>
                  <a:cubicBezTo>
                    <a:pt x="758" y="114"/>
                    <a:pt x="758" y="114"/>
                    <a:pt x="758" y="114"/>
                  </a:cubicBezTo>
                  <a:cubicBezTo>
                    <a:pt x="682" y="241"/>
                    <a:pt x="682" y="241"/>
                    <a:pt x="682" y="241"/>
                  </a:cubicBezTo>
                  <a:cubicBezTo>
                    <a:pt x="666" y="231"/>
                    <a:pt x="666" y="231"/>
                    <a:pt x="666" y="231"/>
                  </a:cubicBezTo>
                  <a:cubicBezTo>
                    <a:pt x="742" y="104"/>
                    <a:pt x="742" y="104"/>
                    <a:pt x="742" y="104"/>
                  </a:cubicBezTo>
                  <a:cubicBezTo>
                    <a:pt x="725" y="94"/>
                    <a:pt x="725" y="94"/>
                    <a:pt x="725" y="94"/>
                  </a:cubicBezTo>
                  <a:cubicBezTo>
                    <a:pt x="650" y="221"/>
                    <a:pt x="650" y="221"/>
                    <a:pt x="650" y="221"/>
                  </a:cubicBezTo>
                  <a:cubicBezTo>
                    <a:pt x="633" y="211"/>
                    <a:pt x="633" y="211"/>
                    <a:pt x="633" y="211"/>
                  </a:cubicBezTo>
                  <a:cubicBezTo>
                    <a:pt x="709" y="85"/>
                    <a:pt x="709" y="85"/>
                    <a:pt x="709" y="85"/>
                  </a:cubicBezTo>
                  <a:cubicBezTo>
                    <a:pt x="697" y="82"/>
                    <a:pt x="685" y="87"/>
                    <a:pt x="679" y="97"/>
                  </a:cubicBezTo>
                  <a:cubicBezTo>
                    <a:pt x="589" y="248"/>
                    <a:pt x="589" y="248"/>
                    <a:pt x="589" y="248"/>
                  </a:cubicBezTo>
                  <a:cubicBezTo>
                    <a:pt x="581" y="261"/>
                    <a:pt x="585" y="277"/>
                    <a:pt x="598" y="284"/>
                  </a:cubicBezTo>
                  <a:cubicBezTo>
                    <a:pt x="615" y="294"/>
                    <a:pt x="615" y="294"/>
                    <a:pt x="615" y="294"/>
                  </a:cubicBezTo>
                  <a:cubicBezTo>
                    <a:pt x="518" y="456"/>
                    <a:pt x="518" y="456"/>
                    <a:pt x="518" y="456"/>
                  </a:cubicBezTo>
                  <a:cubicBezTo>
                    <a:pt x="520" y="247"/>
                    <a:pt x="520" y="247"/>
                    <a:pt x="520" y="247"/>
                  </a:cubicBezTo>
                  <a:cubicBezTo>
                    <a:pt x="556" y="229"/>
                    <a:pt x="582" y="183"/>
                    <a:pt x="583" y="129"/>
                  </a:cubicBezTo>
                  <a:cubicBezTo>
                    <a:pt x="584" y="59"/>
                    <a:pt x="542" y="2"/>
                    <a:pt x="490" y="1"/>
                  </a:cubicBezTo>
                  <a:cubicBezTo>
                    <a:pt x="437" y="0"/>
                    <a:pt x="394" y="57"/>
                    <a:pt x="393" y="127"/>
                  </a:cubicBezTo>
                  <a:cubicBezTo>
                    <a:pt x="392" y="184"/>
                    <a:pt x="420" y="233"/>
                    <a:pt x="460" y="2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0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8042095" y="4386040"/>
            <a:ext cx="1885426" cy="1377770"/>
          </a:xfrm>
        </p:spPr>
        <p:txBody>
          <a:bodyPr/>
          <a:lstStyle>
            <a:lvl1pPr marL="177729" indent="-177729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ü"/>
              <a:defRPr sz="1050" spc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33"/>
          </p:nvPr>
        </p:nvSpPr>
        <p:spPr>
          <a:xfrm>
            <a:off x="10196995" y="4386040"/>
            <a:ext cx="1885426" cy="1377770"/>
          </a:xfrm>
        </p:spPr>
        <p:txBody>
          <a:bodyPr/>
          <a:lstStyle>
            <a:lvl1pPr marL="177729" indent="-177729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ü"/>
              <a:defRPr sz="1050" spc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63" name="Group 62"/>
          <p:cNvGrpSpPr/>
          <p:nvPr userDrawn="1"/>
        </p:nvGrpSpPr>
        <p:grpSpPr>
          <a:xfrm>
            <a:off x="4530636" y="2227406"/>
            <a:ext cx="3040219" cy="347690"/>
            <a:chOff x="8944729" y="-276951"/>
            <a:chExt cx="3041407" cy="347610"/>
          </a:xfrm>
        </p:grpSpPr>
        <p:sp>
          <p:nvSpPr>
            <p:cNvPr id="64" name="Rectangle 63"/>
            <p:cNvSpPr/>
            <p:nvPr userDrawn="1"/>
          </p:nvSpPr>
          <p:spPr bwMode="auto">
            <a:xfrm>
              <a:off x="8944729" y="-272701"/>
              <a:ext cx="3041407" cy="34336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My Work</a:t>
              </a:r>
            </a:p>
          </p:txBody>
        </p:sp>
        <p:sp>
          <p:nvSpPr>
            <p:cNvPr id="65" name="Freeform 81"/>
            <p:cNvSpPr>
              <a:spLocks noChangeAspect="1"/>
            </p:cNvSpPr>
            <p:nvPr userDrawn="1"/>
          </p:nvSpPr>
          <p:spPr bwMode="black">
            <a:xfrm>
              <a:off x="9077724" y="-276951"/>
              <a:ext cx="188207" cy="256267"/>
            </a:xfrm>
            <a:custGeom>
              <a:avLst/>
              <a:gdLst>
                <a:gd name="T0" fmla="*/ 230 w 256"/>
                <a:gd name="T1" fmla="*/ 221 h 349"/>
                <a:gd name="T2" fmla="*/ 256 w 256"/>
                <a:gd name="T3" fmla="*/ 202 h 349"/>
                <a:gd name="T4" fmla="*/ 232 w 256"/>
                <a:gd name="T5" fmla="*/ 184 h 349"/>
                <a:gd name="T6" fmla="*/ 239 w 256"/>
                <a:gd name="T7" fmla="*/ 170 h 349"/>
                <a:gd name="T8" fmla="*/ 217 w 256"/>
                <a:gd name="T9" fmla="*/ 152 h 349"/>
                <a:gd name="T10" fmla="*/ 187 w 256"/>
                <a:gd name="T11" fmla="*/ 152 h 349"/>
                <a:gd name="T12" fmla="*/ 187 w 256"/>
                <a:gd name="T13" fmla="*/ 91 h 349"/>
                <a:gd name="T14" fmla="*/ 217 w 256"/>
                <a:gd name="T15" fmla="*/ 45 h 349"/>
                <a:gd name="T16" fmla="*/ 203 w 256"/>
                <a:gd name="T17" fmla="*/ 10 h 349"/>
                <a:gd name="T18" fmla="*/ 166 w 256"/>
                <a:gd name="T19" fmla="*/ 58 h 349"/>
                <a:gd name="T20" fmla="*/ 130 w 256"/>
                <a:gd name="T21" fmla="*/ 10 h 349"/>
                <a:gd name="T22" fmla="*/ 116 w 256"/>
                <a:gd name="T23" fmla="*/ 45 h 349"/>
                <a:gd name="T24" fmla="*/ 146 w 256"/>
                <a:gd name="T25" fmla="*/ 91 h 349"/>
                <a:gd name="T26" fmla="*/ 146 w 256"/>
                <a:gd name="T27" fmla="*/ 121 h 349"/>
                <a:gd name="T28" fmla="*/ 143 w 256"/>
                <a:gd name="T29" fmla="*/ 119 h 349"/>
                <a:gd name="T30" fmla="*/ 99 w 256"/>
                <a:gd name="T31" fmla="*/ 126 h 349"/>
                <a:gd name="T32" fmla="*/ 45 w 256"/>
                <a:gd name="T33" fmla="*/ 162 h 349"/>
                <a:gd name="T34" fmla="*/ 0 w 256"/>
                <a:gd name="T35" fmla="*/ 162 h 349"/>
                <a:gd name="T36" fmla="*/ 0 w 256"/>
                <a:gd name="T37" fmla="*/ 272 h 349"/>
                <a:gd name="T38" fmla="*/ 70 w 256"/>
                <a:gd name="T39" fmla="*/ 277 h 349"/>
                <a:gd name="T40" fmla="*/ 132 w 256"/>
                <a:gd name="T41" fmla="*/ 286 h 349"/>
                <a:gd name="T42" fmla="*/ 127 w 256"/>
                <a:gd name="T43" fmla="*/ 273 h 349"/>
                <a:gd name="T44" fmla="*/ 139 w 256"/>
                <a:gd name="T45" fmla="*/ 255 h 349"/>
                <a:gd name="T46" fmla="*/ 125 w 256"/>
                <a:gd name="T47" fmla="*/ 237 h 349"/>
                <a:gd name="T48" fmla="*/ 140 w 256"/>
                <a:gd name="T49" fmla="*/ 219 h 349"/>
                <a:gd name="T50" fmla="*/ 125 w 256"/>
                <a:gd name="T51" fmla="*/ 201 h 349"/>
                <a:gd name="T52" fmla="*/ 138 w 256"/>
                <a:gd name="T53" fmla="*/ 185 h 349"/>
                <a:gd name="T54" fmla="*/ 125 w 256"/>
                <a:gd name="T55" fmla="*/ 167 h 349"/>
                <a:gd name="T56" fmla="*/ 146 w 256"/>
                <a:gd name="T57" fmla="*/ 148 h 349"/>
                <a:gd name="T58" fmla="*/ 146 w 256"/>
                <a:gd name="T59" fmla="*/ 155 h 349"/>
                <a:gd name="T60" fmla="*/ 137 w 256"/>
                <a:gd name="T61" fmla="*/ 170 h 349"/>
                <a:gd name="T62" fmla="*/ 146 w 256"/>
                <a:gd name="T63" fmla="*/ 185 h 349"/>
                <a:gd name="T64" fmla="*/ 146 w 256"/>
                <a:gd name="T65" fmla="*/ 188 h 349"/>
                <a:gd name="T66" fmla="*/ 137 w 256"/>
                <a:gd name="T67" fmla="*/ 202 h 349"/>
                <a:gd name="T68" fmla="*/ 146 w 256"/>
                <a:gd name="T69" fmla="*/ 216 h 349"/>
                <a:gd name="T70" fmla="*/ 146 w 256"/>
                <a:gd name="T71" fmla="*/ 224 h 349"/>
                <a:gd name="T72" fmla="*/ 137 w 256"/>
                <a:gd name="T73" fmla="*/ 239 h 349"/>
                <a:gd name="T74" fmla="*/ 146 w 256"/>
                <a:gd name="T75" fmla="*/ 254 h 349"/>
                <a:gd name="T76" fmla="*/ 146 w 256"/>
                <a:gd name="T77" fmla="*/ 261 h 349"/>
                <a:gd name="T78" fmla="*/ 139 w 256"/>
                <a:gd name="T79" fmla="*/ 276 h 349"/>
                <a:gd name="T80" fmla="*/ 146 w 256"/>
                <a:gd name="T81" fmla="*/ 291 h 349"/>
                <a:gd name="T82" fmla="*/ 146 w 256"/>
                <a:gd name="T83" fmla="*/ 324 h 349"/>
                <a:gd name="T84" fmla="*/ 167 w 256"/>
                <a:gd name="T85" fmla="*/ 349 h 349"/>
                <a:gd name="T86" fmla="*/ 187 w 256"/>
                <a:gd name="T87" fmla="*/ 324 h 349"/>
                <a:gd name="T88" fmla="*/ 187 w 256"/>
                <a:gd name="T89" fmla="*/ 294 h 349"/>
                <a:gd name="T90" fmla="*/ 207 w 256"/>
                <a:gd name="T91" fmla="*/ 294 h 349"/>
                <a:gd name="T92" fmla="*/ 226 w 256"/>
                <a:gd name="T93" fmla="*/ 276 h 349"/>
                <a:gd name="T94" fmla="*/ 207 w 256"/>
                <a:gd name="T95" fmla="*/ 257 h 349"/>
                <a:gd name="T96" fmla="*/ 187 w 256"/>
                <a:gd name="T97" fmla="*/ 257 h 349"/>
                <a:gd name="T98" fmla="*/ 187 w 256"/>
                <a:gd name="T99" fmla="*/ 257 h 349"/>
                <a:gd name="T100" fmla="*/ 217 w 256"/>
                <a:gd name="T101" fmla="*/ 257 h 349"/>
                <a:gd name="T102" fmla="*/ 239 w 256"/>
                <a:gd name="T103" fmla="*/ 239 h 349"/>
                <a:gd name="T104" fmla="*/ 217 w 256"/>
                <a:gd name="T105" fmla="*/ 221 h 349"/>
                <a:gd name="T106" fmla="*/ 187 w 256"/>
                <a:gd name="T107" fmla="*/ 221 h 349"/>
                <a:gd name="T108" fmla="*/ 187 w 256"/>
                <a:gd name="T109" fmla="*/ 221 h 349"/>
                <a:gd name="T110" fmla="*/ 230 w 256"/>
                <a:gd name="T111" fmla="*/ 221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6" h="349">
                  <a:moveTo>
                    <a:pt x="230" y="221"/>
                  </a:moveTo>
                  <a:cubicBezTo>
                    <a:pt x="245" y="221"/>
                    <a:pt x="256" y="212"/>
                    <a:pt x="256" y="202"/>
                  </a:cubicBezTo>
                  <a:cubicBezTo>
                    <a:pt x="256" y="192"/>
                    <a:pt x="245" y="184"/>
                    <a:pt x="232" y="184"/>
                  </a:cubicBezTo>
                  <a:cubicBezTo>
                    <a:pt x="236" y="180"/>
                    <a:pt x="239" y="175"/>
                    <a:pt x="239" y="170"/>
                  </a:cubicBezTo>
                  <a:cubicBezTo>
                    <a:pt x="239" y="160"/>
                    <a:pt x="229" y="152"/>
                    <a:pt x="217" y="152"/>
                  </a:cubicBezTo>
                  <a:cubicBezTo>
                    <a:pt x="187" y="152"/>
                    <a:pt x="187" y="152"/>
                    <a:pt x="187" y="152"/>
                  </a:cubicBezTo>
                  <a:cubicBezTo>
                    <a:pt x="187" y="91"/>
                    <a:pt x="187" y="91"/>
                    <a:pt x="187" y="91"/>
                  </a:cubicBezTo>
                  <a:cubicBezTo>
                    <a:pt x="205" y="83"/>
                    <a:pt x="217" y="66"/>
                    <a:pt x="217" y="45"/>
                  </a:cubicBezTo>
                  <a:cubicBezTo>
                    <a:pt x="217" y="31"/>
                    <a:pt x="203" y="0"/>
                    <a:pt x="203" y="10"/>
                  </a:cubicBezTo>
                  <a:cubicBezTo>
                    <a:pt x="204" y="24"/>
                    <a:pt x="195" y="58"/>
                    <a:pt x="166" y="58"/>
                  </a:cubicBezTo>
                  <a:cubicBezTo>
                    <a:pt x="140" y="58"/>
                    <a:pt x="129" y="30"/>
                    <a:pt x="130" y="10"/>
                  </a:cubicBezTo>
                  <a:cubicBezTo>
                    <a:pt x="130" y="3"/>
                    <a:pt x="116" y="32"/>
                    <a:pt x="116" y="45"/>
                  </a:cubicBezTo>
                  <a:cubicBezTo>
                    <a:pt x="116" y="66"/>
                    <a:pt x="129" y="84"/>
                    <a:pt x="146" y="91"/>
                  </a:cubicBezTo>
                  <a:cubicBezTo>
                    <a:pt x="146" y="121"/>
                    <a:pt x="146" y="121"/>
                    <a:pt x="146" y="121"/>
                  </a:cubicBezTo>
                  <a:cubicBezTo>
                    <a:pt x="143" y="119"/>
                    <a:pt x="143" y="119"/>
                    <a:pt x="143" y="119"/>
                  </a:cubicBezTo>
                  <a:cubicBezTo>
                    <a:pt x="143" y="119"/>
                    <a:pt x="110" y="122"/>
                    <a:pt x="99" y="126"/>
                  </a:cubicBezTo>
                  <a:cubicBezTo>
                    <a:pt x="87" y="131"/>
                    <a:pt x="63" y="162"/>
                    <a:pt x="45" y="162"/>
                  </a:cubicBezTo>
                  <a:cubicBezTo>
                    <a:pt x="26" y="162"/>
                    <a:pt x="0" y="162"/>
                    <a:pt x="0" y="162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0" y="272"/>
                    <a:pt x="47" y="272"/>
                    <a:pt x="70" y="277"/>
                  </a:cubicBezTo>
                  <a:cubicBezTo>
                    <a:pt x="86" y="280"/>
                    <a:pt x="110" y="284"/>
                    <a:pt x="132" y="286"/>
                  </a:cubicBezTo>
                  <a:cubicBezTo>
                    <a:pt x="129" y="283"/>
                    <a:pt x="127" y="278"/>
                    <a:pt x="127" y="273"/>
                  </a:cubicBezTo>
                  <a:cubicBezTo>
                    <a:pt x="127" y="265"/>
                    <a:pt x="132" y="258"/>
                    <a:pt x="139" y="255"/>
                  </a:cubicBezTo>
                  <a:cubicBezTo>
                    <a:pt x="131" y="252"/>
                    <a:pt x="125" y="245"/>
                    <a:pt x="125" y="237"/>
                  </a:cubicBezTo>
                  <a:cubicBezTo>
                    <a:pt x="125" y="229"/>
                    <a:pt x="131" y="222"/>
                    <a:pt x="140" y="219"/>
                  </a:cubicBezTo>
                  <a:cubicBezTo>
                    <a:pt x="131" y="216"/>
                    <a:pt x="125" y="209"/>
                    <a:pt x="125" y="201"/>
                  </a:cubicBezTo>
                  <a:cubicBezTo>
                    <a:pt x="125" y="194"/>
                    <a:pt x="130" y="188"/>
                    <a:pt x="138" y="185"/>
                  </a:cubicBezTo>
                  <a:cubicBezTo>
                    <a:pt x="130" y="182"/>
                    <a:pt x="125" y="175"/>
                    <a:pt x="125" y="167"/>
                  </a:cubicBezTo>
                  <a:cubicBezTo>
                    <a:pt x="125" y="157"/>
                    <a:pt x="135" y="148"/>
                    <a:pt x="146" y="148"/>
                  </a:cubicBezTo>
                  <a:cubicBezTo>
                    <a:pt x="146" y="155"/>
                    <a:pt x="146" y="155"/>
                    <a:pt x="146" y="155"/>
                  </a:cubicBezTo>
                  <a:cubicBezTo>
                    <a:pt x="141" y="158"/>
                    <a:pt x="137" y="164"/>
                    <a:pt x="137" y="170"/>
                  </a:cubicBezTo>
                  <a:cubicBezTo>
                    <a:pt x="137" y="176"/>
                    <a:pt x="141" y="182"/>
                    <a:pt x="146" y="185"/>
                  </a:cubicBezTo>
                  <a:cubicBezTo>
                    <a:pt x="146" y="188"/>
                    <a:pt x="146" y="188"/>
                    <a:pt x="146" y="188"/>
                  </a:cubicBezTo>
                  <a:cubicBezTo>
                    <a:pt x="141" y="191"/>
                    <a:pt x="137" y="196"/>
                    <a:pt x="137" y="202"/>
                  </a:cubicBezTo>
                  <a:cubicBezTo>
                    <a:pt x="137" y="208"/>
                    <a:pt x="141" y="213"/>
                    <a:pt x="146" y="216"/>
                  </a:cubicBezTo>
                  <a:cubicBezTo>
                    <a:pt x="146" y="224"/>
                    <a:pt x="146" y="224"/>
                    <a:pt x="146" y="224"/>
                  </a:cubicBezTo>
                  <a:cubicBezTo>
                    <a:pt x="141" y="227"/>
                    <a:pt x="137" y="233"/>
                    <a:pt x="137" y="239"/>
                  </a:cubicBezTo>
                  <a:cubicBezTo>
                    <a:pt x="137" y="245"/>
                    <a:pt x="141" y="251"/>
                    <a:pt x="146" y="254"/>
                  </a:cubicBezTo>
                  <a:cubicBezTo>
                    <a:pt x="146" y="261"/>
                    <a:pt x="146" y="261"/>
                    <a:pt x="146" y="261"/>
                  </a:cubicBezTo>
                  <a:cubicBezTo>
                    <a:pt x="142" y="264"/>
                    <a:pt x="139" y="270"/>
                    <a:pt x="139" y="276"/>
                  </a:cubicBezTo>
                  <a:cubicBezTo>
                    <a:pt x="139" y="282"/>
                    <a:pt x="142" y="287"/>
                    <a:pt x="146" y="291"/>
                  </a:cubicBezTo>
                  <a:cubicBezTo>
                    <a:pt x="146" y="324"/>
                    <a:pt x="146" y="324"/>
                    <a:pt x="146" y="324"/>
                  </a:cubicBezTo>
                  <a:cubicBezTo>
                    <a:pt x="146" y="338"/>
                    <a:pt x="156" y="349"/>
                    <a:pt x="167" y="349"/>
                  </a:cubicBezTo>
                  <a:cubicBezTo>
                    <a:pt x="178" y="349"/>
                    <a:pt x="187" y="338"/>
                    <a:pt x="187" y="324"/>
                  </a:cubicBezTo>
                  <a:cubicBezTo>
                    <a:pt x="187" y="294"/>
                    <a:pt x="187" y="294"/>
                    <a:pt x="187" y="294"/>
                  </a:cubicBezTo>
                  <a:cubicBezTo>
                    <a:pt x="207" y="294"/>
                    <a:pt x="207" y="294"/>
                    <a:pt x="207" y="294"/>
                  </a:cubicBezTo>
                  <a:cubicBezTo>
                    <a:pt x="217" y="294"/>
                    <a:pt x="226" y="286"/>
                    <a:pt x="226" y="276"/>
                  </a:cubicBezTo>
                  <a:cubicBezTo>
                    <a:pt x="226" y="266"/>
                    <a:pt x="217" y="257"/>
                    <a:pt x="207" y="257"/>
                  </a:cubicBezTo>
                  <a:cubicBezTo>
                    <a:pt x="187" y="257"/>
                    <a:pt x="187" y="257"/>
                    <a:pt x="187" y="257"/>
                  </a:cubicBezTo>
                  <a:cubicBezTo>
                    <a:pt x="187" y="257"/>
                    <a:pt x="187" y="257"/>
                    <a:pt x="187" y="257"/>
                  </a:cubicBezTo>
                  <a:cubicBezTo>
                    <a:pt x="217" y="257"/>
                    <a:pt x="217" y="257"/>
                    <a:pt x="217" y="257"/>
                  </a:cubicBezTo>
                  <a:cubicBezTo>
                    <a:pt x="229" y="257"/>
                    <a:pt x="239" y="249"/>
                    <a:pt x="239" y="239"/>
                  </a:cubicBezTo>
                  <a:cubicBezTo>
                    <a:pt x="239" y="229"/>
                    <a:pt x="229" y="221"/>
                    <a:pt x="217" y="221"/>
                  </a:cubicBezTo>
                  <a:cubicBezTo>
                    <a:pt x="187" y="221"/>
                    <a:pt x="187" y="221"/>
                    <a:pt x="187" y="221"/>
                  </a:cubicBezTo>
                  <a:cubicBezTo>
                    <a:pt x="187" y="221"/>
                    <a:pt x="187" y="221"/>
                    <a:pt x="187" y="221"/>
                  </a:cubicBezTo>
                  <a:lnTo>
                    <a:pt x="230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" name="Group 1"/>
          <p:cNvGrpSpPr/>
          <p:nvPr userDrawn="1"/>
        </p:nvGrpSpPr>
        <p:grpSpPr>
          <a:xfrm>
            <a:off x="4700664" y="4789119"/>
            <a:ext cx="539789" cy="540125"/>
            <a:chOff x="4702501" y="4788010"/>
            <a:chExt cx="540000" cy="540000"/>
          </a:xfrm>
        </p:grpSpPr>
        <p:sp>
          <p:nvSpPr>
            <p:cNvPr id="67" name="Rectangle 66"/>
            <p:cNvSpPr/>
            <p:nvPr/>
          </p:nvSpPr>
          <p:spPr bwMode="auto">
            <a:xfrm>
              <a:off x="4702501" y="4788010"/>
              <a:ext cx="540000" cy="540000"/>
            </a:xfrm>
            <a:prstGeom prst="rect">
              <a:avLst/>
            </a:prstGeom>
            <a:solidFill>
              <a:srgbClr val="5A8FB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36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034" rtl="0" eaLnBrk="1" fontAlgn="auto" latinLnBrk="0" hangingPunct="1">
                <a:lnSpc>
                  <a:spcPts val="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50" b="0" i="0" u="none" strike="noStrike" kern="1200" cap="none" spc="-4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Effective Meetings </a:t>
              </a:r>
            </a:p>
          </p:txBody>
        </p:sp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6" cstate="email">
              <a:duotone>
                <a:prstClr val="black"/>
                <a:srgbClr val="E5E5E5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8556" y="4836766"/>
              <a:ext cx="379913" cy="379913"/>
            </a:xfrm>
            <a:prstGeom prst="rect">
              <a:avLst/>
            </a:prstGeom>
          </p:spPr>
        </p:pic>
      </p:grpSp>
      <p:grpSp>
        <p:nvGrpSpPr>
          <p:cNvPr id="70" name="Group 69"/>
          <p:cNvGrpSpPr/>
          <p:nvPr userDrawn="1"/>
        </p:nvGrpSpPr>
        <p:grpSpPr>
          <a:xfrm>
            <a:off x="5912711" y="4789119"/>
            <a:ext cx="539789" cy="540125"/>
            <a:chOff x="5942375" y="1410649"/>
            <a:chExt cx="492066" cy="492067"/>
          </a:xfrm>
        </p:grpSpPr>
        <p:sp>
          <p:nvSpPr>
            <p:cNvPr id="72" name="Rectangle 71"/>
            <p:cNvSpPr/>
            <p:nvPr/>
          </p:nvSpPr>
          <p:spPr bwMode="auto">
            <a:xfrm>
              <a:off x="5942375" y="1410649"/>
              <a:ext cx="492066" cy="492067"/>
            </a:xfrm>
            <a:prstGeom prst="rect">
              <a:avLst/>
            </a:prstGeom>
            <a:solidFill>
              <a:srgbClr val="5A8FB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034" rtl="0" eaLnBrk="1" fontAlgn="auto" latinLnBrk="0" hangingPunct="1">
                <a:lnSpc>
                  <a:spcPts val="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-5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llab Expertise </a:t>
              </a:r>
              <a:br>
                <a:rPr kumimoji="0" lang="en-US" sz="600" b="0" i="0" u="none" strike="noStrike" kern="1200" cap="none" spc="-5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600" b="0" i="0" u="none" strike="noStrike" kern="1200" cap="none" spc="-7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&amp; Info Discovery</a:t>
              </a:r>
            </a:p>
          </p:txBody>
        </p:sp>
        <p:pic>
          <p:nvPicPr>
            <p:cNvPr id="73" name="Picture 72"/>
            <p:cNvPicPr>
              <a:picLocks noChangeAspect="1"/>
            </p:cNvPicPr>
            <p:nvPr/>
          </p:nvPicPr>
          <p:blipFill>
            <a:blip r:embed="rId7" cstate="email">
              <a:duotone>
                <a:prstClr val="black"/>
                <a:srgbClr val="E5E5E5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33323" y="1425601"/>
              <a:ext cx="335682" cy="335683"/>
            </a:xfrm>
            <a:prstGeom prst="rect">
              <a:avLst/>
            </a:prstGeom>
          </p:spPr>
        </p:pic>
      </p:grpSp>
      <p:grpSp>
        <p:nvGrpSpPr>
          <p:cNvPr id="74" name="Group 73"/>
          <p:cNvGrpSpPr/>
          <p:nvPr userDrawn="1"/>
        </p:nvGrpSpPr>
        <p:grpSpPr>
          <a:xfrm>
            <a:off x="6518734" y="4790232"/>
            <a:ext cx="539789" cy="534322"/>
            <a:chOff x="6521281" y="4789123"/>
            <a:chExt cx="540000" cy="534198"/>
          </a:xfrm>
        </p:grpSpPr>
        <p:sp>
          <p:nvSpPr>
            <p:cNvPr id="75" name="Rectangle 74"/>
            <p:cNvSpPr/>
            <p:nvPr/>
          </p:nvSpPr>
          <p:spPr bwMode="auto">
            <a:xfrm>
              <a:off x="6521281" y="4789123"/>
              <a:ext cx="540000" cy="534198"/>
            </a:xfrm>
            <a:prstGeom prst="rect">
              <a:avLst/>
            </a:prstGeom>
            <a:solidFill>
              <a:srgbClr val="5A8FB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034" rtl="0" eaLnBrk="1" fontAlgn="auto" latinLnBrk="0" hangingPunct="1">
                <a:lnSpc>
                  <a:spcPts val="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-5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nalysis, Decision </a:t>
              </a:r>
              <a:r>
                <a:rPr kumimoji="0" lang="en-US" sz="550" b="0" i="0" u="none" strike="noStrike" kern="1200" cap="none" spc="-5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aking &amp; Tracking</a:t>
              </a:r>
            </a:p>
          </p:txBody>
        </p:sp>
        <p:pic>
          <p:nvPicPr>
            <p:cNvPr id="76" name="Picture 75"/>
            <p:cNvPicPr>
              <a:picLocks noChangeAspect="1"/>
            </p:cNvPicPr>
            <p:nvPr/>
          </p:nvPicPr>
          <p:blipFill rotWithShape="1">
            <a:blip r:embed="rId8" cstate="print">
              <a:duotone>
                <a:prstClr val="black"/>
                <a:srgbClr val="E5E5E5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1"/>
            <a:stretch/>
          </p:blipFill>
          <p:spPr>
            <a:xfrm>
              <a:off x="6558195" y="4813300"/>
              <a:ext cx="468245" cy="397283"/>
            </a:xfrm>
            <a:prstGeom prst="rect">
              <a:avLst/>
            </a:prstGeom>
          </p:spPr>
        </p:pic>
      </p:grpSp>
      <p:grpSp>
        <p:nvGrpSpPr>
          <p:cNvPr id="77" name="Group 76"/>
          <p:cNvGrpSpPr/>
          <p:nvPr userDrawn="1"/>
        </p:nvGrpSpPr>
        <p:grpSpPr>
          <a:xfrm>
            <a:off x="7124757" y="4784429"/>
            <a:ext cx="539789" cy="540125"/>
            <a:chOff x="7002926" y="1410649"/>
            <a:chExt cx="492066" cy="492067"/>
          </a:xfrm>
        </p:grpSpPr>
        <p:sp>
          <p:nvSpPr>
            <p:cNvPr id="79" name="Rectangle 78"/>
            <p:cNvSpPr/>
            <p:nvPr/>
          </p:nvSpPr>
          <p:spPr bwMode="auto">
            <a:xfrm>
              <a:off x="7002926" y="1410649"/>
              <a:ext cx="492066" cy="492067"/>
            </a:xfrm>
            <a:prstGeom prst="rect">
              <a:avLst/>
            </a:prstGeom>
            <a:solidFill>
              <a:srgbClr val="5A8FB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034" rtl="0" eaLnBrk="1" fontAlgn="auto" latinLnBrk="0" hangingPunct="1">
                <a:lnSpc>
                  <a:spcPts val="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-4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Business Insight</a:t>
              </a:r>
            </a:p>
          </p:txBody>
        </p:sp>
        <p:pic>
          <p:nvPicPr>
            <p:cNvPr id="82" name="Picture 81"/>
            <p:cNvPicPr>
              <a:picLocks noChangeAspect="1"/>
            </p:cNvPicPr>
            <p:nvPr/>
          </p:nvPicPr>
          <p:blipFill>
            <a:blip r:embed="rId9" cstate="email">
              <a:duotone>
                <a:prstClr val="black"/>
                <a:srgbClr val="F4F4F4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43226" y="1431993"/>
              <a:ext cx="411466" cy="411467"/>
            </a:xfrm>
            <a:prstGeom prst="rect">
              <a:avLst/>
            </a:prstGeom>
          </p:spPr>
        </p:pic>
      </p:grpSp>
      <p:grpSp>
        <p:nvGrpSpPr>
          <p:cNvPr id="83" name="Group 82"/>
          <p:cNvGrpSpPr/>
          <p:nvPr userDrawn="1"/>
        </p:nvGrpSpPr>
        <p:grpSpPr>
          <a:xfrm>
            <a:off x="5306688" y="4789119"/>
            <a:ext cx="539789" cy="540125"/>
            <a:chOff x="5412099" y="1410649"/>
            <a:chExt cx="492066" cy="492067"/>
          </a:xfrm>
        </p:grpSpPr>
        <p:sp>
          <p:nvSpPr>
            <p:cNvPr id="85" name="Rectangle 84"/>
            <p:cNvSpPr/>
            <p:nvPr/>
          </p:nvSpPr>
          <p:spPr bwMode="auto">
            <a:xfrm>
              <a:off x="5412099" y="1410649"/>
              <a:ext cx="492066" cy="492067"/>
            </a:xfrm>
            <a:prstGeom prst="rect">
              <a:avLst/>
            </a:prstGeom>
            <a:solidFill>
              <a:srgbClr val="5A8FB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034" rtl="0" eaLnBrk="1" fontAlgn="auto" latinLnBrk="0" hangingPunct="1">
                <a:lnSpc>
                  <a:spcPts val="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50" b="0" i="0" u="none" strike="noStrike" kern="1200" cap="none" spc="-5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ontent Creation &amp;</a:t>
              </a:r>
              <a:r>
                <a:rPr kumimoji="0" lang="en-US" sz="5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Collaboration</a:t>
              </a:r>
            </a:p>
          </p:txBody>
        </p:sp>
        <p:pic>
          <p:nvPicPr>
            <p:cNvPr id="90" name="Picture 89"/>
            <p:cNvPicPr>
              <a:picLocks noChangeAspect="1"/>
            </p:cNvPicPr>
            <p:nvPr/>
          </p:nvPicPr>
          <p:blipFill>
            <a:blip r:embed="rId10" cstate="email">
              <a:duotone>
                <a:prstClr val="black"/>
                <a:srgbClr val="F4F4F4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3353" y="1443236"/>
              <a:ext cx="369558" cy="304790"/>
            </a:xfrm>
            <a:prstGeom prst="rect">
              <a:avLst/>
            </a:prstGeom>
          </p:spPr>
        </p:pic>
      </p:grpSp>
      <p:grpSp>
        <p:nvGrpSpPr>
          <p:cNvPr id="16" name="Group 15"/>
          <p:cNvGrpSpPr/>
          <p:nvPr userDrawn="1"/>
        </p:nvGrpSpPr>
        <p:grpSpPr>
          <a:xfrm>
            <a:off x="4706896" y="5999339"/>
            <a:ext cx="2351627" cy="550279"/>
            <a:chOff x="4708735" y="5997950"/>
            <a:chExt cx="2352546" cy="550152"/>
          </a:xfrm>
        </p:grpSpPr>
        <p:grpSp>
          <p:nvGrpSpPr>
            <p:cNvPr id="4" name="Group 3"/>
            <p:cNvGrpSpPr/>
            <p:nvPr userDrawn="1"/>
          </p:nvGrpSpPr>
          <p:grpSpPr>
            <a:xfrm>
              <a:off x="4708735" y="6008102"/>
              <a:ext cx="540000" cy="540000"/>
              <a:chOff x="4708735" y="6008103"/>
              <a:chExt cx="540000" cy="521547"/>
            </a:xfrm>
          </p:grpSpPr>
          <p:sp>
            <p:nvSpPr>
              <p:cNvPr id="118" name="Rectangle 117"/>
              <p:cNvSpPr/>
              <p:nvPr/>
            </p:nvSpPr>
            <p:spPr bwMode="auto">
              <a:xfrm>
                <a:off x="4708735" y="6008103"/>
                <a:ext cx="540000" cy="521547"/>
              </a:xfrm>
              <a:prstGeom prst="rect">
                <a:avLst/>
              </a:prstGeom>
              <a:solidFill>
                <a:srgbClr val="5A8FB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34" rtl="0" eaLnBrk="1" fontAlgn="auto" latinLnBrk="0" hangingPunct="1">
                  <a:lnSpc>
                    <a:spcPts val="6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Team Collaboration</a:t>
                </a:r>
              </a:p>
            </p:txBody>
          </p:sp>
          <p:pic>
            <p:nvPicPr>
              <p:cNvPr id="119" name="Picture 118"/>
              <p:cNvPicPr>
                <a:picLocks noChangeAspect="1"/>
              </p:cNvPicPr>
              <p:nvPr/>
            </p:nvPicPr>
            <p:blipFill rotWithShape="1">
              <a:blip r:embed="rId11" cstate="print">
                <a:duotone>
                  <a:prstClr val="black"/>
                  <a:srgbClr val="F4F4F4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9220"/>
              <a:stretch/>
            </p:blipFill>
            <p:spPr>
              <a:xfrm>
                <a:off x="4753340" y="6030096"/>
                <a:ext cx="454188" cy="398219"/>
              </a:xfrm>
              <a:prstGeom prst="rect">
                <a:avLst/>
              </a:prstGeom>
            </p:spPr>
          </p:pic>
        </p:grpSp>
        <p:grpSp>
          <p:nvGrpSpPr>
            <p:cNvPr id="109" name="Group 108"/>
            <p:cNvGrpSpPr/>
            <p:nvPr userDrawn="1"/>
          </p:nvGrpSpPr>
          <p:grpSpPr>
            <a:xfrm>
              <a:off x="6521281" y="5997950"/>
              <a:ext cx="540000" cy="540000"/>
              <a:chOff x="6751823" y="5943500"/>
              <a:chExt cx="579454" cy="510106"/>
            </a:xfrm>
          </p:grpSpPr>
          <p:sp>
            <p:nvSpPr>
              <p:cNvPr id="116" name="Rectangle 115"/>
              <p:cNvSpPr/>
              <p:nvPr/>
            </p:nvSpPr>
            <p:spPr bwMode="auto">
              <a:xfrm>
                <a:off x="6751823" y="5943500"/>
                <a:ext cx="579454" cy="510106"/>
              </a:xfrm>
              <a:prstGeom prst="rect">
                <a:avLst/>
              </a:prstGeom>
              <a:solidFill>
                <a:srgbClr val="5A8FB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34" rtl="0" eaLnBrk="1" fontAlgn="auto" latinLnBrk="0" hangingPunct="1">
                  <a:lnSpc>
                    <a:spcPts val="6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Community Collaboration </a:t>
                </a:r>
              </a:p>
            </p:txBody>
          </p:sp>
          <p:pic>
            <p:nvPicPr>
              <p:cNvPr id="117" name="Picture 116"/>
              <p:cNvPicPr>
                <a:picLocks noChangeAspect="1"/>
              </p:cNvPicPr>
              <p:nvPr/>
            </p:nvPicPr>
            <p:blipFill rotWithShape="1">
              <a:blip r:embed="rId12" cstate="email">
                <a:duotone>
                  <a:prstClr val="black"/>
                  <a:srgbClr val="F4F4F4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777995" y="5956389"/>
                <a:ext cx="515895" cy="338904"/>
              </a:xfrm>
              <a:prstGeom prst="rect">
                <a:avLst/>
              </a:prstGeom>
            </p:spPr>
          </p:pic>
        </p:grpSp>
        <p:grpSp>
          <p:nvGrpSpPr>
            <p:cNvPr id="110" name="Group 109"/>
            <p:cNvGrpSpPr/>
            <p:nvPr userDrawn="1"/>
          </p:nvGrpSpPr>
          <p:grpSpPr>
            <a:xfrm>
              <a:off x="5304255" y="6003709"/>
              <a:ext cx="540000" cy="540000"/>
              <a:chOff x="5418714" y="5934719"/>
              <a:chExt cx="531584" cy="506947"/>
            </a:xfrm>
          </p:grpSpPr>
          <p:sp>
            <p:nvSpPr>
              <p:cNvPr id="114" name="Rectangle 113"/>
              <p:cNvSpPr/>
              <p:nvPr/>
            </p:nvSpPr>
            <p:spPr bwMode="auto">
              <a:xfrm>
                <a:off x="5418714" y="5934719"/>
                <a:ext cx="531584" cy="506947"/>
              </a:xfrm>
              <a:prstGeom prst="rect">
                <a:avLst/>
              </a:prstGeom>
              <a:solidFill>
                <a:srgbClr val="5A8FB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34" rtl="0" eaLnBrk="1" fontAlgn="auto" latinLnBrk="0" hangingPunct="1">
                  <a:lnSpc>
                    <a:spcPts val="6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Project Collaboration </a:t>
                </a:r>
              </a:p>
            </p:txBody>
          </p:sp>
          <p:pic>
            <p:nvPicPr>
              <p:cNvPr id="115" name="Picture 114"/>
              <p:cNvPicPr>
                <a:picLocks noChangeAspect="1"/>
              </p:cNvPicPr>
              <p:nvPr/>
            </p:nvPicPr>
            <p:blipFill rotWithShape="1">
              <a:blip r:embed="rId13" cstate="email">
                <a:duotone>
                  <a:prstClr val="black"/>
                  <a:srgbClr val="F4F4F4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450638" y="5955030"/>
                <a:ext cx="471473" cy="401938"/>
              </a:xfrm>
              <a:prstGeom prst="rect">
                <a:avLst/>
              </a:prstGeom>
            </p:spPr>
          </p:pic>
        </p:grpSp>
        <p:grpSp>
          <p:nvGrpSpPr>
            <p:cNvPr id="111" name="Group 110"/>
            <p:cNvGrpSpPr/>
            <p:nvPr userDrawn="1"/>
          </p:nvGrpSpPr>
          <p:grpSpPr>
            <a:xfrm>
              <a:off x="5912701" y="6002778"/>
              <a:ext cx="540000" cy="540000"/>
              <a:chOff x="6070926" y="5921033"/>
              <a:chExt cx="547191" cy="506947"/>
            </a:xfrm>
          </p:grpSpPr>
          <p:sp>
            <p:nvSpPr>
              <p:cNvPr id="112" name="Rectangle 111"/>
              <p:cNvSpPr/>
              <p:nvPr/>
            </p:nvSpPr>
            <p:spPr bwMode="auto">
              <a:xfrm>
                <a:off x="6070926" y="5921033"/>
                <a:ext cx="547191" cy="506947"/>
              </a:xfrm>
              <a:prstGeom prst="rect">
                <a:avLst/>
              </a:prstGeom>
              <a:solidFill>
                <a:srgbClr val="5A8FB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34" rtl="0" eaLnBrk="1" fontAlgn="auto" latinLnBrk="0" hangingPunct="1">
                  <a:lnSpc>
                    <a:spcPts val="6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0" i="0" u="none" strike="noStrike" kern="1200" cap="none" spc="-4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Customer &amp; Partner </a:t>
                </a:r>
                <a:br>
                  <a:rPr kumimoji="0" lang="en-US" sz="550" b="0" i="0" u="none" strike="noStrike" kern="1200" cap="none" spc="-4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</a:br>
                <a:r>
                  <a:rPr kumimoji="0" lang="en-US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Collaboration </a:t>
                </a:r>
              </a:p>
            </p:txBody>
          </p:sp>
          <p:pic>
            <p:nvPicPr>
              <p:cNvPr id="113" name="Picture 112"/>
              <p:cNvPicPr>
                <a:picLocks noChangeAspect="1"/>
              </p:cNvPicPr>
              <p:nvPr/>
            </p:nvPicPr>
            <p:blipFill>
              <a:blip r:embed="rId14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58737" y="5932797"/>
                <a:ext cx="365023" cy="338177"/>
              </a:xfrm>
              <a:prstGeom prst="rect">
                <a:avLst/>
              </a:prstGeom>
            </p:spPr>
          </p:pic>
        </p:grpSp>
      </p:grpSp>
      <p:grpSp>
        <p:nvGrpSpPr>
          <p:cNvPr id="120" name="Group 119"/>
          <p:cNvGrpSpPr/>
          <p:nvPr userDrawn="1"/>
        </p:nvGrpSpPr>
        <p:grpSpPr>
          <a:xfrm>
            <a:off x="4589646" y="768505"/>
            <a:ext cx="3040219" cy="355306"/>
            <a:chOff x="4591439" y="560108"/>
            <a:chExt cx="3041407" cy="355224"/>
          </a:xfrm>
        </p:grpSpPr>
        <p:sp>
          <p:nvSpPr>
            <p:cNvPr id="121" name="Rectangle 120"/>
            <p:cNvSpPr/>
            <p:nvPr userDrawn="1"/>
          </p:nvSpPr>
          <p:spPr bwMode="auto">
            <a:xfrm>
              <a:off x="4591439" y="560108"/>
              <a:ext cx="3041407" cy="35522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Core Infrastructure</a:t>
              </a:r>
            </a:p>
          </p:txBody>
        </p:sp>
        <p:sp>
          <p:nvSpPr>
            <p:cNvPr id="122" name="Freeform 80"/>
            <p:cNvSpPr>
              <a:spLocks noEditPoints="1"/>
            </p:cNvSpPr>
            <p:nvPr userDrawn="1"/>
          </p:nvSpPr>
          <p:spPr bwMode="black">
            <a:xfrm>
              <a:off x="4646573" y="585954"/>
              <a:ext cx="267913" cy="272486"/>
            </a:xfrm>
            <a:custGeom>
              <a:avLst/>
              <a:gdLst>
                <a:gd name="T0" fmla="*/ 952 w 1833"/>
                <a:gd name="T1" fmla="*/ 1301 h 2225"/>
                <a:gd name="T2" fmla="*/ 882 w 1833"/>
                <a:gd name="T3" fmla="*/ 1413 h 2225"/>
                <a:gd name="T4" fmla="*/ 677 w 1833"/>
                <a:gd name="T5" fmla="*/ 2162 h 2225"/>
                <a:gd name="T6" fmla="*/ 1156 w 1833"/>
                <a:gd name="T7" fmla="*/ 2162 h 2225"/>
                <a:gd name="T8" fmla="*/ 1071 w 1833"/>
                <a:gd name="T9" fmla="*/ 2089 h 2225"/>
                <a:gd name="T10" fmla="*/ 785 w 1833"/>
                <a:gd name="T11" fmla="*/ 2039 h 2225"/>
                <a:gd name="T12" fmla="*/ 1071 w 1833"/>
                <a:gd name="T13" fmla="*/ 2089 h 2225"/>
                <a:gd name="T14" fmla="*/ 760 w 1833"/>
                <a:gd name="T15" fmla="*/ 1949 h 2225"/>
                <a:gd name="T16" fmla="*/ 1096 w 1833"/>
                <a:gd name="T17" fmla="*/ 1949 h 2225"/>
                <a:gd name="T18" fmla="*/ 1026 w 1833"/>
                <a:gd name="T19" fmla="*/ 1801 h 2225"/>
                <a:gd name="T20" fmla="*/ 1061 w 1833"/>
                <a:gd name="T21" fmla="*/ 1836 h 2225"/>
                <a:gd name="T22" fmla="*/ 260 w 1833"/>
                <a:gd name="T23" fmla="*/ 1329 h 2225"/>
                <a:gd name="T24" fmla="*/ 748 w 1833"/>
                <a:gd name="T25" fmla="*/ 1136 h 2225"/>
                <a:gd name="T26" fmla="*/ 190 w 1833"/>
                <a:gd name="T27" fmla="*/ 1329 h 2225"/>
                <a:gd name="T28" fmla="*/ 0 w 1833"/>
                <a:gd name="T29" fmla="*/ 1476 h 2225"/>
                <a:gd name="T30" fmla="*/ 416 w 1833"/>
                <a:gd name="T31" fmla="*/ 2225 h 2225"/>
                <a:gd name="T32" fmla="*/ 416 w 1833"/>
                <a:gd name="T33" fmla="*/ 1413 h 2225"/>
                <a:gd name="T34" fmla="*/ 83 w 1833"/>
                <a:gd name="T35" fmla="*/ 2064 h 2225"/>
                <a:gd name="T36" fmla="*/ 419 w 1833"/>
                <a:gd name="T37" fmla="*/ 2064 h 2225"/>
                <a:gd name="T38" fmla="*/ 108 w 1833"/>
                <a:gd name="T39" fmla="*/ 1974 h 2225"/>
                <a:gd name="T40" fmla="*/ 394 w 1833"/>
                <a:gd name="T41" fmla="*/ 1924 h 2225"/>
                <a:gd name="T42" fmla="*/ 384 w 1833"/>
                <a:gd name="T43" fmla="*/ 1836 h 2225"/>
                <a:gd name="T44" fmla="*/ 419 w 1833"/>
                <a:gd name="T45" fmla="*/ 1801 h 2225"/>
                <a:gd name="T46" fmla="*/ 1643 w 1833"/>
                <a:gd name="T47" fmla="*/ 1413 h 2225"/>
                <a:gd name="T48" fmla="*/ 1082 w 1833"/>
                <a:gd name="T49" fmla="*/ 1101 h 2225"/>
                <a:gd name="T50" fmla="*/ 1415 w 1833"/>
                <a:gd name="T51" fmla="*/ 1171 h 2225"/>
                <a:gd name="T52" fmla="*/ 1417 w 1833"/>
                <a:gd name="T53" fmla="*/ 1413 h 2225"/>
                <a:gd name="T54" fmla="*/ 1417 w 1833"/>
                <a:gd name="T55" fmla="*/ 2225 h 2225"/>
                <a:gd name="T56" fmla="*/ 1833 w 1833"/>
                <a:gd name="T57" fmla="*/ 1476 h 2225"/>
                <a:gd name="T58" fmla="*/ 1462 w 1833"/>
                <a:gd name="T59" fmla="*/ 2089 h 2225"/>
                <a:gd name="T60" fmla="*/ 1748 w 1833"/>
                <a:gd name="T61" fmla="*/ 2039 h 2225"/>
                <a:gd name="T62" fmla="*/ 1748 w 1833"/>
                <a:gd name="T63" fmla="*/ 1974 h 2225"/>
                <a:gd name="T64" fmla="*/ 1462 w 1833"/>
                <a:gd name="T65" fmla="*/ 1924 h 2225"/>
                <a:gd name="T66" fmla="*/ 1748 w 1833"/>
                <a:gd name="T67" fmla="*/ 1974 h 2225"/>
                <a:gd name="T68" fmla="*/ 1738 w 1833"/>
                <a:gd name="T69" fmla="*/ 1766 h 2225"/>
                <a:gd name="T70" fmla="*/ 650 w 1833"/>
                <a:gd name="T71" fmla="*/ 592 h 2225"/>
                <a:gd name="T72" fmla="*/ 1296 w 1833"/>
                <a:gd name="T73" fmla="*/ 113 h 2225"/>
                <a:gd name="T74" fmla="*/ 537 w 1833"/>
                <a:gd name="T75" fmla="*/ 113 h 2225"/>
                <a:gd name="T76" fmla="*/ 603 w 1833"/>
                <a:gd name="T77" fmla="*/ 113 h 2225"/>
                <a:gd name="T78" fmla="*/ 1231 w 1833"/>
                <a:gd name="T79" fmla="*/ 113 h 2225"/>
                <a:gd name="T80" fmla="*/ 650 w 1833"/>
                <a:gd name="T81" fmla="*/ 526 h 2225"/>
                <a:gd name="T82" fmla="*/ 405 w 1833"/>
                <a:gd name="T83" fmla="*/ 902 h 2225"/>
                <a:gd name="T84" fmla="*/ 803 w 1833"/>
                <a:gd name="T85" fmla="*/ 1101 h 2225"/>
                <a:gd name="T86" fmla="*/ 882 w 1833"/>
                <a:gd name="T87" fmla="*/ 1250 h 2225"/>
                <a:gd name="T88" fmla="*/ 1031 w 1833"/>
                <a:gd name="T89" fmla="*/ 1171 h 2225"/>
                <a:gd name="T90" fmla="*/ 952 w 1833"/>
                <a:gd name="T91" fmla="*/ 1021 h 2225"/>
                <a:gd name="T92" fmla="*/ 1457 w 1833"/>
                <a:gd name="T93" fmla="*/ 874 h 2225"/>
                <a:gd name="T94" fmla="*/ 1303 w 1833"/>
                <a:gd name="T95" fmla="*/ 652 h 2225"/>
                <a:gd name="T96" fmla="*/ 530 w 1833"/>
                <a:gd name="T97" fmla="*/ 652 h 2225"/>
                <a:gd name="T98" fmla="*/ 377 w 1833"/>
                <a:gd name="T99" fmla="*/ 874 h 2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33" h="2225">
                  <a:moveTo>
                    <a:pt x="1093" y="1413"/>
                  </a:moveTo>
                  <a:cubicBezTo>
                    <a:pt x="952" y="1413"/>
                    <a:pt x="952" y="1413"/>
                    <a:pt x="952" y="1413"/>
                  </a:cubicBezTo>
                  <a:cubicBezTo>
                    <a:pt x="952" y="1301"/>
                    <a:pt x="952" y="1301"/>
                    <a:pt x="952" y="1301"/>
                  </a:cubicBezTo>
                  <a:cubicBezTo>
                    <a:pt x="940" y="1304"/>
                    <a:pt x="929" y="1305"/>
                    <a:pt x="917" y="1305"/>
                  </a:cubicBezTo>
                  <a:cubicBezTo>
                    <a:pt x="905" y="1305"/>
                    <a:pt x="893" y="1304"/>
                    <a:pt x="882" y="1301"/>
                  </a:cubicBezTo>
                  <a:cubicBezTo>
                    <a:pt x="882" y="1413"/>
                    <a:pt x="882" y="1413"/>
                    <a:pt x="882" y="1413"/>
                  </a:cubicBezTo>
                  <a:cubicBezTo>
                    <a:pt x="740" y="1413"/>
                    <a:pt x="740" y="1413"/>
                    <a:pt x="740" y="1413"/>
                  </a:cubicBezTo>
                  <a:cubicBezTo>
                    <a:pt x="705" y="1413"/>
                    <a:pt x="677" y="1441"/>
                    <a:pt x="677" y="1476"/>
                  </a:cubicBezTo>
                  <a:cubicBezTo>
                    <a:pt x="677" y="2162"/>
                    <a:pt x="677" y="2162"/>
                    <a:pt x="677" y="2162"/>
                  </a:cubicBezTo>
                  <a:cubicBezTo>
                    <a:pt x="677" y="2197"/>
                    <a:pt x="705" y="2225"/>
                    <a:pt x="740" y="2225"/>
                  </a:cubicBezTo>
                  <a:cubicBezTo>
                    <a:pt x="1093" y="2225"/>
                    <a:pt x="1093" y="2225"/>
                    <a:pt x="1093" y="2225"/>
                  </a:cubicBezTo>
                  <a:cubicBezTo>
                    <a:pt x="1128" y="2225"/>
                    <a:pt x="1156" y="2197"/>
                    <a:pt x="1156" y="2162"/>
                  </a:cubicBezTo>
                  <a:cubicBezTo>
                    <a:pt x="1156" y="1476"/>
                    <a:pt x="1156" y="1476"/>
                    <a:pt x="1156" y="1476"/>
                  </a:cubicBezTo>
                  <a:cubicBezTo>
                    <a:pt x="1156" y="1441"/>
                    <a:pt x="1128" y="1413"/>
                    <a:pt x="1093" y="1413"/>
                  </a:cubicBezTo>
                  <a:close/>
                  <a:moveTo>
                    <a:pt x="1071" y="2089"/>
                  </a:moveTo>
                  <a:cubicBezTo>
                    <a:pt x="785" y="2089"/>
                    <a:pt x="785" y="2089"/>
                    <a:pt x="785" y="2089"/>
                  </a:cubicBezTo>
                  <a:cubicBezTo>
                    <a:pt x="771" y="2089"/>
                    <a:pt x="760" y="2078"/>
                    <a:pt x="760" y="2064"/>
                  </a:cubicBezTo>
                  <a:cubicBezTo>
                    <a:pt x="760" y="2050"/>
                    <a:pt x="771" y="2039"/>
                    <a:pt x="785" y="2039"/>
                  </a:cubicBezTo>
                  <a:cubicBezTo>
                    <a:pt x="1071" y="2039"/>
                    <a:pt x="1071" y="2039"/>
                    <a:pt x="1071" y="2039"/>
                  </a:cubicBezTo>
                  <a:cubicBezTo>
                    <a:pt x="1085" y="2039"/>
                    <a:pt x="1096" y="2050"/>
                    <a:pt x="1096" y="2064"/>
                  </a:cubicBezTo>
                  <a:cubicBezTo>
                    <a:pt x="1096" y="2078"/>
                    <a:pt x="1085" y="2089"/>
                    <a:pt x="1071" y="2089"/>
                  </a:cubicBezTo>
                  <a:close/>
                  <a:moveTo>
                    <a:pt x="1071" y="1974"/>
                  </a:moveTo>
                  <a:cubicBezTo>
                    <a:pt x="785" y="1974"/>
                    <a:pt x="785" y="1974"/>
                    <a:pt x="785" y="1974"/>
                  </a:cubicBezTo>
                  <a:cubicBezTo>
                    <a:pt x="771" y="1974"/>
                    <a:pt x="760" y="1963"/>
                    <a:pt x="760" y="1949"/>
                  </a:cubicBezTo>
                  <a:cubicBezTo>
                    <a:pt x="760" y="1935"/>
                    <a:pt x="771" y="1924"/>
                    <a:pt x="785" y="1924"/>
                  </a:cubicBezTo>
                  <a:cubicBezTo>
                    <a:pt x="1071" y="1924"/>
                    <a:pt x="1071" y="1924"/>
                    <a:pt x="1071" y="1924"/>
                  </a:cubicBezTo>
                  <a:cubicBezTo>
                    <a:pt x="1085" y="1924"/>
                    <a:pt x="1096" y="1935"/>
                    <a:pt x="1096" y="1949"/>
                  </a:cubicBezTo>
                  <a:cubicBezTo>
                    <a:pt x="1096" y="1963"/>
                    <a:pt x="1085" y="1974"/>
                    <a:pt x="1071" y="1974"/>
                  </a:cubicBezTo>
                  <a:close/>
                  <a:moveTo>
                    <a:pt x="1061" y="1836"/>
                  </a:moveTo>
                  <a:cubicBezTo>
                    <a:pt x="1042" y="1836"/>
                    <a:pt x="1026" y="1820"/>
                    <a:pt x="1026" y="1801"/>
                  </a:cubicBezTo>
                  <a:cubicBezTo>
                    <a:pt x="1026" y="1782"/>
                    <a:pt x="1042" y="1766"/>
                    <a:pt x="1061" y="1766"/>
                  </a:cubicBezTo>
                  <a:cubicBezTo>
                    <a:pt x="1081" y="1766"/>
                    <a:pt x="1096" y="1782"/>
                    <a:pt x="1096" y="1801"/>
                  </a:cubicBezTo>
                  <a:cubicBezTo>
                    <a:pt x="1096" y="1820"/>
                    <a:pt x="1081" y="1836"/>
                    <a:pt x="1061" y="1836"/>
                  </a:cubicBezTo>
                  <a:close/>
                  <a:moveTo>
                    <a:pt x="416" y="1413"/>
                  </a:moveTo>
                  <a:cubicBezTo>
                    <a:pt x="260" y="1413"/>
                    <a:pt x="260" y="1413"/>
                    <a:pt x="260" y="1413"/>
                  </a:cubicBezTo>
                  <a:cubicBezTo>
                    <a:pt x="260" y="1329"/>
                    <a:pt x="260" y="1329"/>
                    <a:pt x="260" y="1329"/>
                  </a:cubicBezTo>
                  <a:cubicBezTo>
                    <a:pt x="260" y="1242"/>
                    <a:pt x="331" y="1171"/>
                    <a:pt x="418" y="1171"/>
                  </a:cubicBezTo>
                  <a:cubicBezTo>
                    <a:pt x="751" y="1171"/>
                    <a:pt x="751" y="1171"/>
                    <a:pt x="751" y="1171"/>
                  </a:cubicBezTo>
                  <a:cubicBezTo>
                    <a:pt x="749" y="1159"/>
                    <a:pt x="748" y="1148"/>
                    <a:pt x="748" y="1136"/>
                  </a:cubicBezTo>
                  <a:cubicBezTo>
                    <a:pt x="748" y="1124"/>
                    <a:pt x="749" y="1112"/>
                    <a:pt x="751" y="1101"/>
                  </a:cubicBezTo>
                  <a:cubicBezTo>
                    <a:pt x="418" y="1101"/>
                    <a:pt x="418" y="1101"/>
                    <a:pt x="418" y="1101"/>
                  </a:cubicBezTo>
                  <a:cubicBezTo>
                    <a:pt x="293" y="1101"/>
                    <a:pt x="190" y="1203"/>
                    <a:pt x="190" y="1329"/>
                  </a:cubicBezTo>
                  <a:cubicBezTo>
                    <a:pt x="190" y="1413"/>
                    <a:pt x="190" y="1413"/>
                    <a:pt x="190" y="1413"/>
                  </a:cubicBezTo>
                  <a:cubicBezTo>
                    <a:pt x="63" y="1413"/>
                    <a:pt x="63" y="1413"/>
                    <a:pt x="63" y="1413"/>
                  </a:cubicBezTo>
                  <a:cubicBezTo>
                    <a:pt x="28" y="1413"/>
                    <a:pt x="0" y="1441"/>
                    <a:pt x="0" y="1476"/>
                  </a:cubicBezTo>
                  <a:cubicBezTo>
                    <a:pt x="0" y="2162"/>
                    <a:pt x="0" y="2162"/>
                    <a:pt x="0" y="2162"/>
                  </a:cubicBezTo>
                  <a:cubicBezTo>
                    <a:pt x="0" y="2197"/>
                    <a:pt x="28" y="2225"/>
                    <a:pt x="63" y="2225"/>
                  </a:cubicBezTo>
                  <a:cubicBezTo>
                    <a:pt x="416" y="2225"/>
                    <a:pt x="416" y="2225"/>
                    <a:pt x="416" y="2225"/>
                  </a:cubicBezTo>
                  <a:cubicBezTo>
                    <a:pt x="451" y="2225"/>
                    <a:pt x="480" y="2197"/>
                    <a:pt x="480" y="2162"/>
                  </a:cubicBezTo>
                  <a:cubicBezTo>
                    <a:pt x="480" y="1476"/>
                    <a:pt x="480" y="1476"/>
                    <a:pt x="480" y="1476"/>
                  </a:cubicBezTo>
                  <a:cubicBezTo>
                    <a:pt x="480" y="1441"/>
                    <a:pt x="451" y="1413"/>
                    <a:pt x="416" y="1413"/>
                  </a:cubicBezTo>
                  <a:close/>
                  <a:moveTo>
                    <a:pt x="394" y="2089"/>
                  </a:moveTo>
                  <a:cubicBezTo>
                    <a:pt x="108" y="2089"/>
                    <a:pt x="108" y="2089"/>
                    <a:pt x="108" y="2089"/>
                  </a:cubicBezTo>
                  <a:cubicBezTo>
                    <a:pt x="94" y="2089"/>
                    <a:pt x="83" y="2078"/>
                    <a:pt x="83" y="2064"/>
                  </a:cubicBezTo>
                  <a:cubicBezTo>
                    <a:pt x="83" y="2050"/>
                    <a:pt x="94" y="2039"/>
                    <a:pt x="108" y="2039"/>
                  </a:cubicBezTo>
                  <a:cubicBezTo>
                    <a:pt x="394" y="2039"/>
                    <a:pt x="394" y="2039"/>
                    <a:pt x="394" y="2039"/>
                  </a:cubicBezTo>
                  <a:cubicBezTo>
                    <a:pt x="408" y="2039"/>
                    <a:pt x="419" y="2050"/>
                    <a:pt x="419" y="2064"/>
                  </a:cubicBezTo>
                  <a:cubicBezTo>
                    <a:pt x="419" y="2078"/>
                    <a:pt x="408" y="2089"/>
                    <a:pt x="394" y="2089"/>
                  </a:cubicBezTo>
                  <a:close/>
                  <a:moveTo>
                    <a:pt x="394" y="1974"/>
                  </a:moveTo>
                  <a:cubicBezTo>
                    <a:pt x="108" y="1974"/>
                    <a:pt x="108" y="1974"/>
                    <a:pt x="108" y="1974"/>
                  </a:cubicBezTo>
                  <a:cubicBezTo>
                    <a:pt x="94" y="1974"/>
                    <a:pt x="83" y="1963"/>
                    <a:pt x="83" y="1949"/>
                  </a:cubicBezTo>
                  <a:cubicBezTo>
                    <a:pt x="83" y="1935"/>
                    <a:pt x="94" y="1924"/>
                    <a:pt x="108" y="1924"/>
                  </a:cubicBezTo>
                  <a:cubicBezTo>
                    <a:pt x="394" y="1924"/>
                    <a:pt x="394" y="1924"/>
                    <a:pt x="394" y="1924"/>
                  </a:cubicBezTo>
                  <a:cubicBezTo>
                    <a:pt x="408" y="1924"/>
                    <a:pt x="419" y="1935"/>
                    <a:pt x="419" y="1949"/>
                  </a:cubicBezTo>
                  <a:cubicBezTo>
                    <a:pt x="419" y="1963"/>
                    <a:pt x="408" y="1974"/>
                    <a:pt x="394" y="1974"/>
                  </a:cubicBezTo>
                  <a:close/>
                  <a:moveTo>
                    <a:pt x="384" y="1836"/>
                  </a:moveTo>
                  <a:cubicBezTo>
                    <a:pt x="365" y="1836"/>
                    <a:pt x="350" y="1820"/>
                    <a:pt x="350" y="1801"/>
                  </a:cubicBezTo>
                  <a:cubicBezTo>
                    <a:pt x="350" y="1782"/>
                    <a:pt x="365" y="1766"/>
                    <a:pt x="384" y="1766"/>
                  </a:cubicBezTo>
                  <a:cubicBezTo>
                    <a:pt x="404" y="1766"/>
                    <a:pt x="419" y="1782"/>
                    <a:pt x="419" y="1801"/>
                  </a:cubicBezTo>
                  <a:cubicBezTo>
                    <a:pt x="419" y="1820"/>
                    <a:pt x="404" y="1836"/>
                    <a:pt x="384" y="1836"/>
                  </a:cubicBezTo>
                  <a:close/>
                  <a:moveTo>
                    <a:pt x="1770" y="1413"/>
                  </a:moveTo>
                  <a:cubicBezTo>
                    <a:pt x="1643" y="1413"/>
                    <a:pt x="1643" y="1413"/>
                    <a:pt x="1643" y="1413"/>
                  </a:cubicBezTo>
                  <a:cubicBezTo>
                    <a:pt x="1643" y="1329"/>
                    <a:pt x="1643" y="1329"/>
                    <a:pt x="1643" y="1329"/>
                  </a:cubicBezTo>
                  <a:cubicBezTo>
                    <a:pt x="1643" y="1203"/>
                    <a:pt x="1541" y="1101"/>
                    <a:pt x="1415" y="1101"/>
                  </a:cubicBezTo>
                  <a:cubicBezTo>
                    <a:pt x="1082" y="1101"/>
                    <a:pt x="1082" y="1101"/>
                    <a:pt x="1082" y="1101"/>
                  </a:cubicBezTo>
                  <a:cubicBezTo>
                    <a:pt x="1085" y="1112"/>
                    <a:pt x="1086" y="1124"/>
                    <a:pt x="1086" y="1136"/>
                  </a:cubicBezTo>
                  <a:cubicBezTo>
                    <a:pt x="1086" y="1148"/>
                    <a:pt x="1085" y="1159"/>
                    <a:pt x="1082" y="1171"/>
                  </a:cubicBezTo>
                  <a:cubicBezTo>
                    <a:pt x="1415" y="1171"/>
                    <a:pt x="1415" y="1171"/>
                    <a:pt x="1415" y="1171"/>
                  </a:cubicBezTo>
                  <a:cubicBezTo>
                    <a:pt x="1503" y="1171"/>
                    <a:pt x="1574" y="1242"/>
                    <a:pt x="1574" y="1329"/>
                  </a:cubicBezTo>
                  <a:cubicBezTo>
                    <a:pt x="1574" y="1413"/>
                    <a:pt x="1574" y="1413"/>
                    <a:pt x="1574" y="1413"/>
                  </a:cubicBezTo>
                  <a:cubicBezTo>
                    <a:pt x="1417" y="1413"/>
                    <a:pt x="1417" y="1413"/>
                    <a:pt x="1417" y="1413"/>
                  </a:cubicBezTo>
                  <a:cubicBezTo>
                    <a:pt x="1382" y="1413"/>
                    <a:pt x="1354" y="1441"/>
                    <a:pt x="1354" y="1476"/>
                  </a:cubicBezTo>
                  <a:cubicBezTo>
                    <a:pt x="1354" y="2162"/>
                    <a:pt x="1354" y="2162"/>
                    <a:pt x="1354" y="2162"/>
                  </a:cubicBezTo>
                  <a:cubicBezTo>
                    <a:pt x="1354" y="2197"/>
                    <a:pt x="1382" y="2225"/>
                    <a:pt x="1417" y="2225"/>
                  </a:cubicBezTo>
                  <a:cubicBezTo>
                    <a:pt x="1770" y="2225"/>
                    <a:pt x="1770" y="2225"/>
                    <a:pt x="1770" y="2225"/>
                  </a:cubicBezTo>
                  <a:cubicBezTo>
                    <a:pt x="1805" y="2225"/>
                    <a:pt x="1833" y="2197"/>
                    <a:pt x="1833" y="2162"/>
                  </a:cubicBezTo>
                  <a:cubicBezTo>
                    <a:pt x="1833" y="1476"/>
                    <a:pt x="1833" y="1476"/>
                    <a:pt x="1833" y="1476"/>
                  </a:cubicBezTo>
                  <a:cubicBezTo>
                    <a:pt x="1833" y="1441"/>
                    <a:pt x="1805" y="1413"/>
                    <a:pt x="1770" y="1413"/>
                  </a:cubicBezTo>
                  <a:close/>
                  <a:moveTo>
                    <a:pt x="1748" y="2089"/>
                  </a:moveTo>
                  <a:cubicBezTo>
                    <a:pt x="1462" y="2089"/>
                    <a:pt x="1462" y="2089"/>
                    <a:pt x="1462" y="2089"/>
                  </a:cubicBezTo>
                  <a:cubicBezTo>
                    <a:pt x="1448" y="2089"/>
                    <a:pt x="1437" y="2078"/>
                    <a:pt x="1437" y="2064"/>
                  </a:cubicBezTo>
                  <a:cubicBezTo>
                    <a:pt x="1437" y="2050"/>
                    <a:pt x="1448" y="2039"/>
                    <a:pt x="1462" y="2039"/>
                  </a:cubicBezTo>
                  <a:cubicBezTo>
                    <a:pt x="1748" y="2039"/>
                    <a:pt x="1748" y="2039"/>
                    <a:pt x="1748" y="2039"/>
                  </a:cubicBezTo>
                  <a:cubicBezTo>
                    <a:pt x="1762" y="2039"/>
                    <a:pt x="1773" y="2050"/>
                    <a:pt x="1773" y="2064"/>
                  </a:cubicBezTo>
                  <a:cubicBezTo>
                    <a:pt x="1773" y="2078"/>
                    <a:pt x="1762" y="2089"/>
                    <a:pt x="1748" y="2089"/>
                  </a:cubicBezTo>
                  <a:close/>
                  <a:moveTo>
                    <a:pt x="1748" y="1974"/>
                  </a:moveTo>
                  <a:cubicBezTo>
                    <a:pt x="1462" y="1974"/>
                    <a:pt x="1462" y="1974"/>
                    <a:pt x="1462" y="1974"/>
                  </a:cubicBezTo>
                  <a:cubicBezTo>
                    <a:pt x="1448" y="1974"/>
                    <a:pt x="1437" y="1963"/>
                    <a:pt x="1437" y="1949"/>
                  </a:cubicBezTo>
                  <a:cubicBezTo>
                    <a:pt x="1437" y="1935"/>
                    <a:pt x="1448" y="1924"/>
                    <a:pt x="1462" y="1924"/>
                  </a:cubicBezTo>
                  <a:cubicBezTo>
                    <a:pt x="1748" y="1924"/>
                    <a:pt x="1748" y="1924"/>
                    <a:pt x="1748" y="1924"/>
                  </a:cubicBezTo>
                  <a:cubicBezTo>
                    <a:pt x="1762" y="1924"/>
                    <a:pt x="1773" y="1935"/>
                    <a:pt x="1773" y="1949"/>
                  </a:cubicBezTo>
                  <a:cubicBezTo>
                    <a:pt x="1773" y="1963"/>
                    <a:pt x="1762" y="1974"/>
                    <a:pt x="1748" y="1974"/>
                  </a:cubicBezTo>
                  <a:close/>
                  <a:moveTo>
                    <a:pt x="1738" y="1836"/>
                  </a:moveTo>
                  <a:cubicBezTo>
                    <a:pt x="1719" y="1836"/>
                    <a:pt x="1703" y="1820"/>
                    <a:pt x="1703" y="1801"/>
                  </a:cubicBezTo>
                  <a:cubicBezTo>
                    <a:pt x="1703" y="1782"/>
                    <a:pt x="1719" y="1766"/>
                    <a:pt x="1738" y="1766"/>
                  </a:cubicBezTo>
                  <a:cubicBezTo>
                    <a:pt x="1757" y="1766"/>
                    <a:pt x="1773" y="1782"/>
                    <a:pt x="1773" y="1801"/>
                  </a:cubicBezTo>
                  <a:cubicBezTo>
                    <a:pt x="1773" y="1820"/>
                    <a:pt x="1757" y="1836"/>
                    <a:pt x="1738" y="1836"/>
                  </a:cubicBezTo>
                  <a:close/>
                  <a:moveTo>
                    <a:pt x="650" y="592"/>
                  </a:moveTo>
                  <a:cubicBezTo>
                    <a:pt x="1184" y="592"/>
                    <a:pt x="1184" y="592"/>
                    <a:pt x="1184" y="592"/>
                  </a:cubicBezTo>
                  <a:cubicBezTo>
                    <a:pt x="1246" y="592"/>
                    <a:pt x="1296" y="541"/>
                    <a:pt x="1296" y="479"/>
                  </a:cubicBezTo>
                  <a:cubicBezTo>
                    <a:pt x="1296" y="113"/>
                    <a:pt x="1296" y="113"/>
                    <a:pt x="1296" y="113"/>
                  </a:cubicBezTo>
                  <a:cubicBezTo>
                    <a:pt x="1296" y="51"/>
                    <a:pt x="1246" y="0"/>
                    <a:pt x="1184" y="0"/>
                  </a:cubicBezTo>
                  <a:cubicBezTo>
                    <a:pt x="650" y="0"/>
                    <a:pt x="650" y="0"/>
                    <a:pt x="650" y="0"/>
                  </a:cubicBezTo>
                  <a:cubicBezTo>
                    <a:pt x="588" y="0"/>
                    <a:pt x="537" y="51"/>
                    <a:pt x="537" y="113"/>
                  </a:cubicBezTo>
                  <a:cubicBezTo>
                    <a:pt x="537" y="479"/>
                    <a:pt x="537" y="479"/>
                    <a:pt x="537" y="479"/>
                  </a:cubicBezTo>
                  <a:cubicBezTo>
                    <a:pt x="537" y="541"/>
                    <a:pt x="588" y="592"/>
                    <a:pt x="650" y="592"/>
                  </a:cubicBezTo>
                  <a:close/>
                  <a:moveTo>
                    <a:pt x="603" y="113"/>
                  </a:moveTo>
                  <a:cubicBezTo>
                    <a:pt x="603" y="87"/>
                    <a:pt x="624" y="66"/>
                    <a:pt x="650" y="66"/>
                  </a:cubicBezTo>
                  <a:cubicBezTo>
                    <a:pt x="1184" y="66"/>
                    <a:pt x="1184" y="66"/>
                    <a:pt x="1184" y="66"/>
                  </a:cubicBezTo>
                  <a:cubicBezTo>
                    <a:pt x="1210" y="66"/>
                    <a:pt x="1231" y="87"/>
                    <a:pt x="1231" y="113"/>
                  </a:cubicBezTo>
                  <a:cubicBezTo>
                    <a:pt x="1231" y="479"/>
                    <a:pt x="1231" y="479"/>
                    <a:pt x="1231" y="479"/>
                  </a:cubicBezTo>
                  <a:cubicBezTo>
                    <a:pt x="1231" y="505"/>
                    <a:pt x="1210" y="526"/>
                    <a:pt x="1184" y="526"/>
                  </a:cubicBezTo>
                  <a:cubicBezTo>
                    <a:pt x="650" y="526"/>
                    <a:pt x="650" y="526"/>
                    <a:pt x="650" y="526"/>
                  </a:cubicBezTo>
                  <a:cubicBezTo>
                    <a:pt x="624" y="526"/>
                    <a:pt x="603" y="505"/>
                    <a:pt x="603" y="479"/>
                  </a:cubicBezTo>
                  <a:lnTo>
                    <a:pt x="603" y="113"/>
                  </a:lnTo>
                  <a:close/>
                  <a:moveTo>
                    <a:pt x="405" y="902"/>
                  </a:moveTo>
                  <a:cubicBezTo>
                    <a:pt x="882" y="902"/>
                    <a:pt x="882" y="902"/>
                    <a:pt x="882" y="902"/>
                  </a:cubicBezTo>
                  <a:cubicBezTo>
                    <a:pt x="882" y="1021"/>
                    <a:pt x="882" y="1021"/>
                    <a:pt x="882" y="1021"/>
                  </a:cubicBezTo>
                  <a:cubicBezTo>
                    <a:pt x="844" y="1033"/>
                    <a:pt x="814" y="1063"/>
                    <a:pt x="803" y="1101"/>
                  </a:cubicBezTo>
                  <a:cubicBezTo>
                    <a:pt x="799" y="1112"/>
                    <a:pt x="797" y="1124"/>
                    <a:pt x="797" y="1136"/>
                  </a:cubicBezTo>
                  <a:cubicBezTo>
                    <a:pt x="797" y="1148"/>
                    <a:pt x="799" y="1160"/>
                    <a:pt x="803" y="1171"/>
                  </a:cubicBezTo>
                  <a:cubicBezTo>
                    <a:pt x="814" y="1209"/>
                    <a:pt x="844" y="1238"/>
                    <a:pt x="882" y="1250"/>
                  </a:cubicBezTo>
                  <a:cubicBezTo>
                    <a:pt x="893" y="1253"/>
                    <a:pt x="905" y="1255"/>
                    <a:pt x="917" y="1255"/>
                  </a:cubicBezTo>
                  <a:cubicBezTo>
                    <a:pt x="929" y="1255"/>
                    <a:pt x="941" y="1253"/>
                    <a:pt x="952" y="1250"/>
                  </a:cubicBezTo>
                  <a:cubicBezTo>
                    <a:pt x="990" y="1238"/>
                    <a:pt x="1020" y="1209"/>
                    <a:pt x="1031" y="1171"/>
                  </a:cubicBezTo>
                  <a:cubicBezTo>
                    <a:pt x="1034" y="1160"/>
                    <a:pt x="1036" y="1148"/>
                    <a:pt x="1036" y="1136"/>
                  </a:cubicBezTo>
                  <a:cubicBezTo>
                    <a:pt x="1036" y="1124"/>
                    <a:pt x="1034" y="1112"/>
                    <a:pt x="1031" y="1101"/>
                  </a:cubicBezTo>
                  <a:cubicBezTo>
                    <a:pt x="1019" y="1063"/>
                    <a:pt x="990" y="1033"/>
                    <a:pt x="952" y="1021"/>
                  </a:cubicBezTo>
                  <a:cubicBezTo>
                    <a:pt x="952" y="902"/>
                    <a:pt x="952" y="902"/>
                    <a:pt x="952" y="902"/>
                  </a:cubicBezTo>
                  <a:cubicBezTo>
                    <a:pt x="1429" y="902"/>
                    <a:pt x="1429" y="902"/>
                    <a:pt x="1429" y="902"/>
                  </a:cubicBezTo>
                  <a:cubicBezTo>
                    <a:pt x="1444" y="902"/>
                    <a:pt x="1457" y="889"/>
                    <a:pt x="1457" y="874"/>
                  </a:cubicBezTo>
                  <a:cubicBezTo>
                    <a:pt x="1457" y="861"/>
                    <a:pt x="1457" y="861"/>
                    <a:pt x="1457" y="861"/>
                  </a:cubicBezTo>
                  <a:cubicBezTo>
                    <a:pt x="1457" y="845"/>
                    <a:pt x="1449" y="823"/>
                    <a:pt x="1439" y="811"/>
                  </a:cubicBezTo>
                  <a:cubicBezTo>
                    <a:pt x="1303" y="652"/>
                    <a:pt x="1303" y="652"/>
                    <a:pt x="1303" y="652"/>
                  </a:cubicBezTo>
                  <a:cubicBezTo>
                    <a:pt x="1293" y="640"/>
                    <a:pt x="1273" y="631"/>
                    <a:pt x="1257" y="631"/>
                  </a:cubicBezTo>
                  <a:cubicBezTo>
                    <a:pt x="577" y="631"/>
                    <a:pt x="577" y="631"/>
                    <a:pt x="577" y="631"/>
                  </a:cubicBezTo>
                  <a:cubicBezTo>
                    <a:pt x="561" y="631"/>
                    <a:pt x="540" y="640"/>
                    <a:pt x="530" y="652"/>
                  </a:cubicBezTo>
                  <a:cubicBezTo>
                    <a:pt x="395" y="811"/>
                    <a:pt x="395" y="811"/>
                    <a:pt x="395" y="811"/>
                  </a:cubicBezTo>
                  <a:cubicBezTo>
                    <a:pt x="385" y="823"/>
                    <a:pt x="377" y="845"/>
                    <a:pt x="377" y="861"/>
                  </a:cubicBezTo>
                  <a:cubicBezTo>
                    <a:pt x="377" y="874"/>
                    <a:pt x="377" y="874"/>
                    <a:pt x="377" y="874"/>
                  </a:cubicBezTo>
                  <a:cubicBezTo>
                    <a:pt x="377" y="889"/>
                    <a:pt x="389" y="902"/>
                    <a:pt x="405" y="9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09711" tIns="54856" rIns="109711" bIns="5485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20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32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123" name="Picture 122"/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176" y="4184984"/>
            <a:ext cx="520301" cy="520625"/>
          </a:xfrm>
          <a:prstGeom prst="rect">
            <a:avLst/>
          </a:prstGeom>
        </p:spPr>
      </p:pic>
      <p:sp>
        <p:nvSpPr>
          <p:cNvPr id="124" name="Rectangle 123"/>
          <p:cNvSpPr/>
          <p:nvPr userDrawn="1"/>
        </p:nvSpPr>
        <p:spPr bwMode="auto">
          <a:xfrm>
            <a:off x="4700717" y="4362169"/>
            <a:ext cx="3040219" cy="34344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57021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Team Collaboration</a:t>
            </a:r>
          </a:p>
        </p:txBody>
      </p:sp>
      <p:grpSp>
        <p:nvGrpSpPr>
          <p:cNvPr id="125" name="Group 124"/>
          <p:cNvGrpSpPr/>
          <p:nvPr userDrawn="1"/>
        </p:nvGrpSpPr>
        <p:grpSpPr>
          <a:xfrm>
            <a:off x="4648673" y="5476963"/>
            <a:ext cx="3092211" cy="522121"/>
            <a:chOff x="4650489" y="5338247"/>
            <a:chExt cx="3093419" cy="522000"/>
          </a:xfrm>
        </p:grpSpPr>
        <p:sp>
          <p:nvSpPr>
            <p:cNvPr id="126" name="Rectangle 125"/>
            <p:cNvSpPr/>
            <p:nvPr userDrawn="1"/>
          </p:nvSpPr>
          <p:spPr bwMode="auto">
            <a:xfrm>
              <a:off x="4702501" y="5506479"/>
              <a:ext cx="3041407" cy="34336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Connected Organization</a:t>
              </a:r>
            </a:p>
          </p:txBody>
        </p:sp>
        <p:pic>
          <p:nvPicPr>
            <p:cNvPr id="127" name="Picture 126"/>
            <p:cNvPicPr>
              <a:picLocks noChangeAspect="1"/>
            </p:cNvPicPr>
            <p:nvPr userDrawn="1"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50489" y="5338247"/>
              <a:ext cx="522000" cy="522000"/>
            </a:xfrm>
            <a:prstGeom prst="rect">
              <a:avLst/>
            </a:prstGeom>
          </p:spPr>
        </p:pic>
      </p:grpSp>
      <p:sp>
        <p:nvSpPr>
          <p:cNvPr id="128" name="Text Placeholder 9"/>
          <p:cNvSpPr>
            <a:spLocks noGrp="1"/>
          </p:cNvSpPr>
          <p:nvPr userDrawn="1">
            <p:ph type="body" sz="quarter" idx="35"/>
          </p:nvPr>
        </p:nvSpPr>
        <p:spPr>
          <a:xfrm>
            <a:off x="5017300" y="2631452"/>
            <a:ext cx="2612564" cy="1083720"/>
          </a:xfrm>
        </p:spPr>
        <p:txBody>
          <a:bodyPr/>
          <a:lstStyle>
            <a:lvl1pPr marL="177729" indent="-177729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ü"/>
              <a:defRPr sz="1000" spc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9" name="Text Placeholder 9"/>
          <p:cNvSpPr>
            <a:spLocks noGrp="1"/>
          </p:cNvSpPr>
          <p:nvPr userDrawn="1">
            <p:ph type="body" sz="quarter" idx="36"/>
          </p:nvPr>
        </p:nvSpPr>
        <p:spPr>
          <a:xfrm>
            <a:off x="4988340" y="1149966"/>
            <a:ext cx="2612564" cy="1011673"/>
          </a:xfrm>
        </p:spPr>
        <p:txBody>
          <a:bodyPr/>
          <a:lstStyle>
            <a:lvl1pPr marL="177729" indent="-177729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ü"/>
              <a:defRPr sz="1000" spc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976846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cenario Details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 bwMode="auto">
          <a:xfrm>
            <a:off x="4216518" y="-2391"/>
            <a:ext cx="3727236" cy="6861979"/>
          </a:xfrm>
          <a:prstGeom prst="rect">
            <a:avLst/>
          </a:prstGeom>
          <a:solidFill>
            <a:srgbClr val="8CB1D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5702" tIns="274213" rIns="45702" bIns="4570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ENABLING TECHNOLOGIES</a:t>
            </a:r>
          </a:p>
        </p:txBody>
      </p:sp>
      <p:sp>
        <p:nvSpPr>
          <p:cNvPr id="7" name="Rectangle 6"/>
          <p:cNvSpPr/>
          <p:nvPr/>
        </p:nvSpPr>
        <p:spPr bwMode="white">
          <a:xfrm>
            <a:off x="7905669" y="0"/>
            <a:ext cx="4281569" cy="685958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36" tIns="45636" rIns="45636" bIns="456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23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99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25741" y="6321651"/>
            <a:ext cx="1461498" cy="537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8074046" y="692757"/>
            <a:ext cx="955302" cy="955896"/>
          </a:xfrm>
        </p:spPr>
        <p:txBody>
          <a:bodyPr/>
          <a:lstStyle>
            <a:lvl1pPr marL="0" indent="0">
              <a:buFontTx/>
              <a:buNone/>
              <a:defRPr sz="1999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7905669" y="177841"/>
            <a:ext cx="4281569" cy="4362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3983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High Impact Persona Examples</a:t>
            </a:r>
          </a:p>
        </p:txBody>
      </p:sp>
      <p:sp>
        <p:nvSpPr>
          <p:cNvPr id="20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074046" y="1768602"/>
            <a:ext cx="955302" cy="955896"/>
          </a:xfrm>
        </p:spPr>
        <p:txBody>
          <a:bodyPr/>
          <a:lstStyle>
            <a:lvl1pPr marL="0" indent="0">
              <a:buFontTx/>
              <a:buNone/>
              <a:defRPr sz="1999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8074046" y="2844447"/>
            <a:ext cx="955302" cy="955896"/>
          </a:xfrm>
        </p:spPr>
        <p:txBody>
          <a:bodyPr/>
          <a:lstStyle>
            <a:lvl1pPr marL="0" indent="0">
              <a:buFontTx/>
              <a:buNone/>
              <a:defRPr sz="1999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7" name="Rectangle 26"/>
          <p:cNvSpPr/>
          <p:nvPr userDrawn="1"/>
        </p:nvSpPr>
        <p:spPr bwMode="auto">
          <a:xfrm>
            <a:off x="232994" y="197175"/>
            <a:ext cx="3765857" cy="360083"/>
          </a:xfrm>
          <a:prstGeom prst="rect">
            <a:avLst/>
          </a:prstGeom>
          <a:solidFill>
            <a:srgbClr val="8CB1D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502724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Business Benefits</a:t>
            </a:r>
          </a:p>
        </p:txBody>
      </p:sp>
      <p:sp>
        <p:nvSpPr>
          <p:cNvPr id="28" name="Content Placeholder 47"/>
          <p:cNvSpPr>
            <a:spLocks noGrp="1"/>
          </p:cNvSpPr>
          <p:nvPr>
            <p:ph sz="quarter" idx="23" hasCustomPrompt="1"/>
          </p:nvPr>
        </p:nvSpPr>
        <p:spPr>
          <a:xfrm>
            <a:off x="235733" y="586905"/>
            <a:ext cx="3767638" cy="1382273"/>
          </a:xfrm>
        </p:spPr>
        <p:txBody>
          <a:bodyPr lIns="45720" tIns="45720" rIns="45720"/>
          <a:lstStyle>
            <a:lvl1pPr marL="171381" indent="-171381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lang="en-US" sz="1200" kern="1200" spc="0" baseline="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171381" indent="-171381">
              <a:buFont typeface="Wingdings" panose="05000000000000000000" pitchFamily="2" charset="2"/>
              <a:buChar char="§"/>
              <a:defRPr lang="en-US" sz="1100" kern="1200" spc="-71" baseline="0" dirty="0" smtClean="0">
                <a:solidFill>
                  <a:schemeClr val="accent6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285636" indent="-171381">
              <a:buFont typeface="Wingdings" panose="05000000000000000000" pitchFamily="2" charset="2"/>
              <a:buChar char="§"/>
              <a:defRPr sz="1100"/>
            </a:lvl3pPr>
            <a:lvl4pPr marL="349110" indent="-171381">
              <a:buFont typeface="Wingdings" panose="05000000000000000000" pitchFamily="2" charset="2"/>
              <a:buChar char="§"/>
              <a:defRPr sz="1050"/>
            </a:lvl4pPr>
            <a:lvl5pPr marL="349110" indent="-171381">
              <a:buFont typeface="Wingdings" panose="05000000000000000000" pitchFamily="2" charset="2"/>
              <a:buChar char="§"/>
              <a:defRPr sz="105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5" name="Picture 3" descr="\\MAGNUM\Projects\Microsoft\Cloud Power FY12\Design\Icons\PNGs\Scalable_Elastic_4.png"/>
          <p:cNvPicPr>
            <a:picLocks noChangeAspect="1" noChangeArrowheads="1"/>
          </p:cNvPicPr>
          <p:nvPr userDrawn="1"/>
        </p:nvPicPr>
        <p:blipFill>
          <a:blip r:embed="rId3" cstate="email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796" y="182239"/>
            <a:ext cx="381267" cy="381504"/>
          </a:xfrm>
          <a:prstGeom prst="rect">
            <a:avLst/>
          </a:prstGeom>
          <a:noFill/>
        </p:spPr>
      </p:pic>
      <p:sp>
        <p:nvSpPr>
          <p:cNvPr id="78" name="Rectangle 77"/>
          <p:cNvSpPr/>
          <p:nvPr userDrawn="1"/>
        </p:nvSpPr>
        <p:spPr bwMode="auto">
          <a:xfrm>
            <a:off x="232994" y="2522513"/>
            <a:ext cx="3765857" cy="360083"/>
          </a:xfrm>
          <a:prstGeom prst="rect">
            <a:avLst/>
          </a:prstGeom>
          <a:solidFill>
            <a:srgbClr val="8CB1D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502724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Business Change </a:t>
            </a:r>
          </a:p>
        </p:txBody>
      </p:sp>
      <p:sp>
        <p:nvSpPr>
          <p:cNvPr id="81" name="Rectangle 80"/>
          <p:cNvSpPr/>
          <p:nvPr userDrawn="1"/>
        </p:nvSpPr>
        <p:spPr bwMode="auto">
          <a:xfrm>
            <a:off x="232994" y="4662882"/>
            <a:ext cx="3765857" cy="360083"/>
          </a:xfrm>
          <a:prstGeom prst="rect">
            <a:avLst/>
          </a:prstGeom>
          <a:solidFill>
            <a:srgbClr val="8CB1D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502724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Metrics &amp; Measures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7983354" y="203174"/>
            <a:ext cx="557740" cy="382916"/>
            <a:chOff x="7999173" y="25327"/>
            <a:chExt cx="557958" cy="382827"/>
          </a:xfrm>
        </p:grpSpPr>
        <p:pic>
          <p:nvPicPr>
            <p:cNvPr id="87" name="Picture 4" descr="\\MAGNUM\Projects\Microsoft\Cloud Power FY12\Design\Icons\PNGs\IT_guy.png"/>
            <p:cNvPicPr>
              <a:picLocks noChangeAspect="1" noChangeArrowheads="1"/>
            </p:cNvPicPr>
            <p:nvPr userDrawn="1"/>
          </p:nvPicPr>
          <p:blipFill>
            <a:blip r:embed="rId4" cstate="email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99173" y="25327"/>
              <a:ext cx="357427" cy="357427"/>
            </a:xfrm>
            <a:prstGeom prst="rect">
              <a:avLst/>
            </a:prstGeom>
            <a:noFill/>
          </p:spPr>
        </p:pic>
        <p:pic>
          <p:nvPicPr>
            <p:cNvPr id="88" name="Picture 4" descr="\\MAGNUM\Projects\Microsoft\Cloud Power FY12\Design\Icons\PNGs\IT_guy.png"/>
            <p:cNvPicPr>
              <a:picLocks noChangeAspect="1" noChangeArrowheads="1"/>
            </p:cNvPicPr>
            <p:nvPr userDrawn="1"/>
          </p:nvPicPr>
          <p:blipFill>
            <a:blip r:embed="rId4" cstate="email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96589" y="50727"/>
              <a:ext cx="357427" cy="357427"/>
            </a:xfrm>
            <a:prstGeom prst="rect">
              <a:avLst/>
            </a:prstGeom>
            <a:noFill/>
          </p:spPr>
        </p:pic>
        <p:pic>
          <p:nvPicPr>
            <p:cNvPr id="89" name="Picture 4" descr="\\MAGNUM\Projects\Microsoft\Cloud Power FY12\Design\Icons\PNGs\IT_guy.png"/>
            <p:cNvPicPr>
              <a:picLocks noChangeAspect="1" noChangeArrowheads="1"/>
            </p:cNvPicPr>
            <p:nvPr userDrawn="1"/>
          </p:nvPicPr>
          <p:blipFill>
            <a:blip r:embed="rId4" cstate="email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99704" y="25327"/>
              <a:ext cx="357427" cy="357427"/>
            </a:xfrm>
            <a:prstGeom prst="rect">
              <a:avLst/>
            </a:prstGeom>
            <a:noFill/>
          </p:spPr>
        </p:pic>
      </p:grpSp>
      <p:sp>
        <p:nvSpPr>
          <p:cNvPr id="91" name="Freeform 90"/>
          <p:cNvSpPr/>
          <p:nvPr userDrawn="1"/>
        </p:nvSpPr>
        <p:spPr>
          <a:xfrm rot="12635514">
            <a:off x="361189" y="4713241"/>
            <a:ext cx="357376" cy="300014"/>
          </a:xfrm>
          <a:custGeom>
            <a:avLst/>
            <a:gdLst>
              <a:gd name="connsiteX0" fmla="*/ 664814 w 1528805"/>
              <a:gd name="connsiteY0" fmla="*/ 385562 h 1282626"/>
              <a:gd name="connsiteX1" fmla="*/ 664814 w 1528805"/>
              <a:gd name="connsiteY1" fmla="*/ 379615 h 1282626"/>
              <a:gd name="connsiteX2" fmla="*/ 674861 w 1528805"/>
              <a:gd name="connsiteY2" fmla="*/ 379615 h 1282626"/>
              <a:gd name="connsiteX3" fmla="*/ 669228 w 1528805"/>
              <a:gd name="connsiteY3" fmla="*/ 381531 h 1282626"/>
              <a:gd name="connsiteX4" fmla="*/ 780408 w 1528805"/>
              <a:gd name="connsiteY4" fmla="*/ 381805 h 1282626"/>
              <a:gd name="connsiteX5" fmla="*/ 780408 w 1528805"/>
              <a:gd name="connsiteY5" fmla="*/ 379615 h 1282626"/>
              <a:gd name="connsiteX6" fmla="*/ 775985 w 1528805"/>
              <a:gd name="connsiteY6" fmla="*/ 379615 h 1282626"/>
              <a:gd name="connsiteX7" fmla="*/ 1389946 w 1528805"/>
              <a:gd name="connsiteY7" fmla="*/ 93668 h 1282626"/>
              <a:gd name="connsiteX8" fmla="*/ 1322166 w 1528805"/>
              <a:gd name="connsiteY8" fmla="*/ 74994 h 1282626"/>
              <a:gd name="connsiteX9" fmla="*/ 1338474 w 1528805"/>
              <a:gd name="connsiteY9" fmla="*/ 6605 h 1282626"/>
              <a:gd name="connsiteX10" fmla="*/ 1406254 w 1528805"/>
              <a:gd name="connsiteY10" fmla="*/ 25280 h 1282626"/>
              <a:gd name="connsiteX11" fmla="*/ 1389946 w 1528805"/>
              <a:gd name="connsiteY11" fmla="*/ 93668 h 1282626"/>
              <a:gd name="connsiteX12" fmla="*/ 75038 w 1528805"/>
              <a:gd name="connsiteY12" fmla="*/ 871052 h 1282626"/>
              <a:gd name="connsiteX13" fmla="*/ 7258 w 1528805"/>
              <a:gd name="connsiteY13" fmla="*/ 852377 h 1282626"/>
              <a:gd name="connsiteX14" fmla="*/ 23566 w 1528805"/>
              <a:gd name="connsiteY14" fmla="*/ 783989 h 1282626"/>
              <a:gd name="connsiteX15" fmla="*/ 91345 w 1528805"/>
              <a:gd name="connsiteY15" fmla="*/ 802664 h 1282626"/>
              <a:gd name="connsiteX16" fmla="*/ 75038 w 1528805"/>
              <a:gd name="connsiteY16" fmla="*/ 871052 h 1282626"/>
              <a:gd name="connsiteX17" fmla="*/ 1505239 w 1528805"/>
              <a:gd name="connsiteY17" fmla="*/ 486273 h 1282626"/>
              <a:gd name="connsiteX18" fmla="*/ 1437459 w 1528805"/>
              <a:gd name="connsiteY18" fmla="*/ 467598 h 1282626"/>
              <a:gd name="connsiteX19" fmla="*/ 1453767 w 1528805"/>
              <a:gd name="connsiteY19" fmla="*/ 399210 h 1282626"/>
              <a:gd name="connsiteX20" fmla="*/ 1521547 w 1528805"/>
              <a:gd name="connsiteY20" fmla="*/ 417885 h 1282626"/>
              <a:gd name="connsiteX21" fmla="*/ 1505239 w 1528805"/>
              <a:gd name="connsiteY21" fmla="*/ 486273 h 1282626"/>
              <a:gd name="connsiteX22" fmla="*/ 363455 w 1528805"/>
              <a:gd name="connsiteY22" fmla="*/ 1161305 h 1282626"/>
              <a:gd name="connsiteX23" fmla="*/ 295675 w 1528805"/>
              <a:gd name="connsiteY23" fmla="*/ 1142630 h 1282626"/>
              <a:gd name="connsiteX24" fmla="*/ 311983 w 1528805"/>
              <a:gd name="connsiteY24" fmla="*/ 1074242 h 1282626"/>
              <a:gd name="connsiteX25" fmla="*/ 379763 w 1528805"/>
              <a:gd name="connsiteY25" fmla="*/ 1092917 h 1282626"/>
              <a:gd name="connsiteX26" fmla="*/ 363455 w 1528805"/>
              <a:gd name="connsiteY26" fmla="*/ 1161305 h 1282626"/>
              <a:gd name="connsiteX27" fmla="*/ 722611 w 1528805"/>
              <a:gd name="connsiteY27" fmla="*/ 1057502 h 1282626"/>
              <a:gd name="connsiteX28" fmla="*/ 715534 w 1528805"/>
              <a:gd name="connsiteY28" fmla="*/ 1050425 h 1282626"/>
              <a:gd name="connsiteX29" fmla="*/ 730005 w 1528805"/>
              <a:gd name="connsiteY29" fmla="*/ 1050108 h 1282626"/>
              <a:gd name="connsiteX30" fmla="*/ 1017254 w 1528805"/>
              <a:gd name="connsiteY30" fmla="*/ 970201 h 1282626"/>
              <a:gd name="connsiteX31" fmla="*/ 785931 w 1528805"/>
              <a:gd name="connsiteY31" fmla="*/ 1048882 h 1282626"/>
              <a:gd name="connsiteX32" fmla="*/ 730005 w 1528805"/>
              <a:gd name="connsiteY32" fmla="*/ 1050108 h 1282626"/>
              <a:gd name="connsiteX33" fmla="*/ 838205 w 1528805"/>
              <a:gd name="connsiteY33" fmla="*/ 941908 h 1282626"/>
              <a:gd name="connsiteX34" fmla="*/ 780408 w 1528805"/>
              <a:gd name="connsiteY34" fmla="*/ 941908 h 1282626"/>
              <a:gd name="connsiteX35" fmla="*/ 780408 w 1528805"/>
              <a:gd name="connsiteY35" fmla="*/ 589768 h 1282626"/>
              <a:gd name="connsiteX36" fmla="*/ 747076 w 1528805"/>
              <a:gd name="connsiteY36" fmla="*/ 601106 h 1282626"/>
              <a:gd name="connsiteX37" fmla="*/ 702653 w 1528805"/>
              <a:gd name="connsiteY37" fmla="*/ 597745 h 1282626"/>
              <a:gd name="connsiteX38" fmla="*/ 664814 w 1528805"/>
              <a:gd name="connsiteY38" fmla="*/ 579013 h 1282626"/>
              <a:gd name="connsiteX39" fmla="*/ 664814 w 1528805"/>
              <a:gd name="connsiteY39" fmla="*/ 941908 h 1282626"/>
              <a:gd name="connsiteX40" fmla="*/ 607017 w 1528805"/>
              <a:gd name="connsiteY40" fmla="*/ 941908 h 1282626"/>
              <a:gd name="connsiteX41" fmla="*/ 715534 w 1528805"/>
              <a:gd name="connsiteY41" fmla="*/ 1050425 h 1282626"/>
              <a:gd name="connsiteX42" fmla="*/ 666236 w 1528805"/>
              <a:gd name="connsiteY42" fmla="*/ 1051507 h 1282626"/>
              <a:gd name="connsiteX43" fmla="*/ 164567 w 1528805"/>
              <a:gd name="connsiteY43" fmla="*/ 735263 h 1282626"/>
              <a:gd name="connsiteX44" fmla="*/ 642077 w 1528805"/>
              <a:gd name="connsiteY44" fmla="*/ 452955 h 1282626"/>
              <a:gd name="connsiteX45" fmla="*/ 637768 w 1528805"/>
              <a:gd name="connsiteY45" fmla="*/ 462416 h 1282626"/>
              <a:gd name="connsiteX46" fmla="*/ 648525 w 1528805"/>
              <a:gd name="connsiteY46" fmla="*/ 532002 h 1282626"/>
              <a:gd name="connsiteX47" fmla="*/ 772443 w 1528805"/>
              <a:gd name="connsiteY47" fmla="*/ 566144 h 1282626"/>
              <a:gd name="connsiteX48" fmla="*/ 802258 w 1528805"/>
              <a:gd name="connsiteY48" fmla="*/ 441114 h 1282626"/>
              <a:gd name="connsiteX49" fmla="*/ 746473 w 1528805"/>
              <a:gd name="connsiteY49" fmla="*/ 398148 h 1282626"/>
              <a:gd name="connsiteX50" fmla="*/ 736107 w 1528805"/>
              <a:gd name="connsiteY50" fmla="*/ 397364 h 1282626"/>
              <a:gd name="connsiteX51" fmla="*/ 1222404 w 1528805"/>
              <a:gd name="connsiteY51" fmla="*/ 109861 h 1282626"/>
              <a:gd name="connsiteX52" fmla="*/ 1017254 w 1528805"/>
              <a:gd name="connsiteY52" fmla="*/ 970201 h 1282626"/>
              <a:gd name="connsiteX53" fmla="*/ 714973 w 1528805"/>
              <a:gd name="connsiteY53" fmla="*/ 1276021 h 1282626"/>
              <a:gd name="connsiteX54" fmla="*/ 647193 w 1528805"/>
              <a:gd name="connsiteY54" fmla="*/ 1257347 h 1282626"/>
              <a:gd name="connsiteX55" fmla="*/ 663501 w 1528805"/>
              <a:gd name="connsiteY55" fmla="*/ 1188959 h 1282626"/>
              <a:gd name="connsiteX56" fmla="*/ 731280 w 1528805"/>
              <a:gd name="connsiteY56" fmla="*/ 1207633 h 1282626"/>
              <a:gd name="connsiteX57" fmla="*/ 714973 w 1528805"/>
              <a:gd name="connsiteY57" fmla="*/ 1276021 h 1282626"/>
              <a:gd name="connsiteX58" fmla="*/ 1399220 w 1528805"/>
              <a:gd name="connsiteY58" fmla="*/ 871489 h 1282626"/>
              <a:gd name="connsiteX59" fmla="*/ 1331440 w 1528805"/>
              <a:gd name="connsiteY59" fmla="*/ 852814 h 1282626"/>
              <a:gd name="connsiteX60" fmla="*/ 1347748 w 1528805"/>
              <a:gd name="connsiteY60" fmla="*/ 784426 h 1282626"/>
              <a:gd name="connsiteX61" fmla="*/ 1415528 w 1528805"/>
              <a:gd name="connsiteY61" fmla="*/ 803101 h 1282626"/>
              <a:gd name="connsiteX62" fmla="*/ 1399220 w 1528805"/>
              <a:gd name="connsiteY62" fmla="*/ 871489 h 1282626"/>
              <a:gd name="connsiteX63" fmla="*/ 1125898 w 1528805"/>
              <a:gd name="connsiteY63" fmla="*/ 1171310 h 1282626"/>
              <a:gd name="connsiteX64" fmla="*/ 1058118 w 1528805"/>
              <a:gd name="connsiteY64" fmla="*/ 1152635 h 1282626"/>
              <a:gd name="connsiteX65" fmla="*/ 1074426 w 1528805"/>
              <a:gd name="connsiteY65" fmla="*/ 1084247 h 1282626"/>
              <a:gd name="connsiteX66" fmla="*/ 1142206 w 1528805"/>
              <a:gd name="connsiteY66" fmla="*/ 1102922 h 1282626"/>
              <a:gd name="connsiteX67" fmla="*/ 1125898 w 1528805"/>
              <a:gd name="connsiteY67" fmla="*/ 1171310 h 1282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1528805" h="1282626">
                <a:moveTo>
                  <a:pt x="664814" y="385562"/>
                </a:moveTo>
                <a:lnTo>
                  <a:pt x="664814" y="379615"/>
                </a:lnTo>
                <a:lnTo>
                  <a:pt x="674861" y="379615"/>
                </a:lnTo>
                <a:lnTo>
                  <a:pt x="669228" y="381531"/>
                </a:lnTo>
                <a:close/>
                <a:moveTo>
                  <a:pt x="780408" y="381805"/>
                </a:moveTo>
                <a:lnTo>
                  <a:pt x="780408" y="379615"/>
                </a:lnTo>
                <a:lnTo>
                  <a:pt x="775985" y="379615"/>
                </a:lnTo>
                <a:close/>
                <a:moveTo>
                  <a:pt x="1389946" y="93668"/>
                </a:moveTo>
                <a:cubicBezTo>
                  <a:pt x="1366725" y="107396"/>
                  <a:pt x="1336379" y="99035"/>
                  <a:pt x="1322166" y="74994"/>
                </a:cubicBezTo>
                <a:cubicBezTo>
                  <a:pt x="1307952" y="50952"/>
                  <a:pt x="1315253" y="20334"/>
                  <a:pt x="1338474" y="6605"/>
                </a:cubicBezTo>
                <a:cubicBezTo>
                  <a:pt x="1361694" y="-7123"/>
                  <a:pt x="1392040" y="1239"/>
                  <a:pt x="1406254" y="25280"/>
                </a:cubicBezTo>
                <a:cubicBezTo>
                  <a:pt x="1420467" y="49322"/>
                  <a:pt x="1413166" y="79940"/>
                  <a:pt x="1389946" y="93668"/>
                </a:cubicBezTo>
                <a:close/>
                <a:moveTo>
                  <a:pt x="75038" y="871052"/>
                </a:moveTo>
                <a:cubicBezTo>
                  <a:pt x="51817" y="884780"/>
                  <a:pt x="21471" y="876419"/>
                  <a:pt x="7258" y="852377"/>
                </a:cubicBezTo>
                <a:cubicBezTo>
                  <a:pt x="-6956" y="828335"/>
                  <a:pt x="345" y="797717"/>
                  <a:pt x="23566" y="783989"/>
                </a:cubicBezTo>
                <a:cubicBezTo>
                  <a:pt x="46786" y="770261"/>
                  <a:pt x="77132" y="778622"/>
                  <a:pt x="91345" y="802664"/>
                </a:cubicBezTo>
                <a:cubicBezTo>
                  <a:pt x="105559" y="826705"/>
                  <a:pt x="98258" y="857324"/>
                  <a:pt x="75038" y="871052"/>
                </a:cubicBezTo>
                <a:close/>
                <a:moveTo>
                  <a:pt x="1505239" y="486273"/>
                </a:moveTo>
                <a:cubicBezTo>
                  <a:pt x="1482019" y="500001"/>
                  <a:pt x="1451673" y="491640"/>
                  <a:pt x="1437459" y="467598"/>
                </a:cubicBezTo>
                <a:cubicBezTo>
                  <a:pt x="1423246" y="443557"/>
                  <a:pt x="1430547" y="412939"/>
                  <a:pt x="1453767" y="399210"/>
                </a:cubicBezTo>
                <a:cubicBezTo>
                  <a:pt x="1476988" y="385482"/>
                  <a:pt x="1507334" y="393843"/>
                  <a:pt x="1521547" y="417885"/>
                </a:cubicBezTo>
                <a:cubicBezTo>
                  <a:pt x="1535761" y="441927"/>
                  <a:pt x="1528460" y="472545"/>
                  <a:pt x="1505239" y="486273"/>
                </a:cubicBezTo>
                <a:close/>
                <a:moveTo>
                  <a:pt x="363455" y="1161305"/>
                </a:moveTo>
                <a:cubicBezTo>
                  <a:pt x="340234" y="1175033"/>
                  <a:pt x="309888" y="1166672"/>
                  <a:pt x="295675" y="1142630"/>
                </a:cubicBezTo>
                <a:cubicBezTo>
                  <a:pt x="281461" y="1118588"/>
                  <a:pt x="288762" y="1087970"/>
                  <a:pt x="311983" y="1074242"/>
                </a:cubicBezTo>
                <a:cubicBezTo>
                  <a:pt x="335203" y="1060514"/>
                  <a:pt x="365549" y="1068875"/>
                  <a:pt x="379763" y="1092917"/>
                </a:cubicBezTo>
                <a:cubicBezTo>
                  <a:pt x="393976" y="1116958"/>
                  <a:pt x="386675" y="1147577"/>
                  <a:pt x="363455" y="1161305"/>
                </a:cubicBezTo>
                <a:close/>
                <a:moveTo>
                  <a:pt x="722611" y="1057502"/>
                </a:moveTo>
                <a:lnTo>
                  <a:pt x="715534" y="1050425"/>
                </a:lnTo>
                <a:lnTo>
                  <a:pt x="730005" y="1050108"/>
                </a:lnTo>
                <a:close/>
                <a:moveTo>
                  <a:pt x="1017254" y="970201"/>
                </a:moveTo>
                <a:cubicBezTo>
                  <a:pt x="944225" y="1013376"/>
                  <a:pt x="865594" y="1039182"/>
                  <a:pt x="785931" y="1048882"/>
                </a:cubicBezTo>
                <a:lnTo>
                  <a:pt x="730005" y="1050108"/>
                </a:lnTo>
                <a:lnTo>
                  <a:pt x="838205" y="941908"/>
                </a:lnTo>
                <a:lnTo>
                  <a:pt x="780408" y="941908"/>
                </a:lnTo>
                <a:lnTo>
                  <a:pt x="780408" y="589768"/>
                </a:lnTo>
                <a:lnTo>
                  <a:pt x="747076" y="601106"/>
                </a:lnTo>
                <a:cubicBezTo>
                  <a:pt x="732176" y="602920"/>
                  <a:pt x="717083" y="601721"/>
                  <a:pt x="702653" y="597745"/>
                </a:cubicBezTo>
                <a:lnTo>
                  <a:pt x="664814" y="579013"/>
                </a:lnTo>
                <a:lnTo>
                  <a:pt x="664814" y="941908"/>
                </a:lnTo>
                <a:lnTo>
                  <a:pt x="607017" y="941908"/>
                </a:lnTo>
                <a:lnTo>
                  <a:pt x="715534" y="1050425"/>
                </a:lnTo>
                <a:lnTo>
                  <a:pt x="666236" y="1051507"/>
                </a:lnTo>
                <a:cubicBezTo>
                  <a:pt x="467359" y="1036271"/>
                  <a:pt x="276325" y="924295"/>
                  <a:pt x="164567" y="735263"/>
                </a:cubicBezTo>
                <a:lnTo>
                  <a:pt x="642077" y="452955"/>
                </a:lnTo>
                <a:lnTo>
                  <a:pt x="637768" y="462416"/>
                </a:lnTo>
                <a:cubicBezTo>
                  <a:pt x="632373" y="485042"/>
                  <a:pt x="635532" y="510025"/>
                  <a:pt x="648525" y="532002"/>
                </a:cubicBezTo>
                <a:cubicBezTo>
                  <a:pt x="674511" y="575956"/>
                  <a:pt x="729992" y="591242"/>
                  <a:pt x="772443" y="566144"/>
                </a:cubicBezTo>
                <a:cubicBezTo>
                  <a:pt x="814895" y="541047"/>
                  <a:pt x="828244" y="485068"/>
                  <a:pt x="802258" y="441114"/>
                </a:cubicBezTo>
                <a:cubicBezTo>
                  <a:pt x="789265" y="419137"/>
                  <a:pt x="768898" y="404327"/>
                  <a:pt x="746473" y="398148"/>
                </a:cubicBezTo>
                <a:lnTo>
                  <a:pt x="736107" y="397364"/>
                </a:lnTo>
                <a:lnTo>
                  <a:pt x="1222404" y="109861"/>
                </a:lnTo>
                <a:cubicBezTo>
                  <a:pt x="1401216" y="412313"/>
                  <a:pt x="1309368" y="797501"/>
                  <a:pt x="1017254" y="970201"/>
                </a:cubicBezTo>
                <a:close/>
                <a:moveTo>
                  <a:pt x="714973" y="1276021"/>
                </a:moveTo>
                <a:cubicBezTo>
                  <a:pt x="691752" y="1289749"/>
                  <a:pt x="661406" y="1281388"/>
                  <a:pt x="647193" y="1257347"/>
                </a:cubicBezTo>
                <a:cubicBezTo>
                  <a:pt x="632979" y="1233305"/>
                  <a:pt x="640280" y="1202687"/>
                  <a:pt x="663501" y="1188959"/>
                </a:cubicBezTo>
                <a:cubicBezTo>
                  <a:pt x="686721" y="1175231"/>
                  <a:pt x="717067" y="1183592"/>
                  <a:pt x="731280" y="1207633"/>
                </a:cubicBezTo>
                <a:cubicBezTo>
                  <a:pt x="745494" y="1231675"/>
                  <a:pt x="738193" y="1262293"/>
                  <a:pt x="714973" y="1276021"/>
                </a:cubicBezTo>
                <a:close/>
                <a:moveTo>
                  <a:pt x="1399220" y="871489"/>
                </a:moveTo>
                <a:cubicBezTo>
                  <a:pt x="1376000" y="885217"/>
                  <a:pt x="1345654" y="876856"/>
                  <a:pt x="1331440" y="852814"/>
                </a:cubicBezTo>
                <a:cubicBezTo>
                  <a:pt x="1317226" y="828773"/>
                  <a:pt x="1324527" y="798155"/>
                  <a:pt x="1347748" y="784426"/>
                </a:cubicBezTo>
                <a:cubicBezTo>
                  <a:pt x="1370968" y="770698"/>
                  <a:pt x="1401314" y="779059"/>
                  <a:pt x="1415528" y="803101"/>
                </a:cubicBezTo>
                <a:cubicBezTo>
                  <a:pt x="1429741" y="827143"/>
                  <a:pt x="1422440" y="857761"/>
                  <a:pt x="1399220" y="871489"/>
                </a:cubicBezTo>
                <a:close/>
                <a:moveTo>
                  <a:pt x="1125898" y="1171310"/>
                </a:moveTo>
                <a:cubicBezTo>
                  <a:pt x="1102678" y="1185038"/>
                  <a:pt x="1072332" y="1176677"/>
                  <a:pt x="1058118" y="1152635"/>
                </a:cubicBezTo>
                <a:cubicBezTo>
                  <a:pt x="1043905" y="1128594"/>
                  <a:pt x="1051205" y="1097975"/>
                  <a:pt x="1074426" y="1084247"/>
                </a:cubicBezTo>
                <a:cubicBezTo>
                  <a:pt x="1097646" y="1070519"/>
                  <a:pt x="1127992" y="1078880"/>
                  <a:pt x="1142206" y="1102922"/>
                </a:cubicBezTo>
                <a:cubicBezTo>
                  <a:pt x="1156420" y="1126964"/>
                  <a:pt x="1149119" y="1157582"/>
                  <a:pt x="1125898" y="1171310"/>
                </a:cubicBezTo>
                <a:close/>
              </a:path>
            </a:pathLst>
          </a:custGeom>
          <a:solidFill>
            <a:srgbClr val="FFFFFF"/>
          </a:solidFill>
          <a:ln w="3175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30" name="Group 29"/>
          <p:cNvGrpSpPr/>
          <p:nvPr userDrawn="1"/>
        </p:nvGrpSpPr>
        <p:grpSpPr>
          <a:xfrm>
            <a:off x="345917" y="2528998"/>
            <a:ext cx="296348" cy="318722"/>
            <a:chOff x="340962" y="2579120"/>
            <a:chExt cx="296464" cy="318648"/>
          </a:xfrm>
        </p:grpSpPr>
        <p:sp>
          <p:nvSpPr>
            <p:cNvPr id="93" name="Freeform 6"/>
            <p:cNvSpPr>
              <a:spLocks/>
            </p:cNvSpPr>
            <p:nvPr/>
          </p:nvSpPr>
          <p:spPr bwMode="black">
            <a:xfrm>
              <a:off x="340962" y="2703781"/>
              <a:ext cx="42625" cy="42614"/>
            </a:xfrm>
            <a:custGeom>
              <a:avLst/>
              <a:gdLst>
                <a:gd name="T0" fmla="*/ 15 w 67"/>
                <a:gd name="T1" fmla="*/ 67 h 67"/>
                <a:gd name="T2" fmla="*/ 15 w 67"/>
                <a:gd name="T3" fmla="*/ 66 h 67"/>
                <a:gd name="T4" fmla="*/ 33 w 67"/>
                <a:gd name="T5" fmla="*/ 48 h 67"/>
                <a:gd name="T6" fmla="*/ 52 w 67"/>
                <a:gd name="T7" fmla="*/ 67 h 67"/>
                <a:gd name="T8" fmla="*/ 67 w 67"/>
                <a:gd name="T9" fmla="*/ 52 h 67"/>
                <a:gd name="T10" fmla="*/ 66 w 67"/>
                <a:gd name="T11" fmla="*/ 51 h 67"/>
                <a:gd name="T12" fmla="*/ 48 w 67"/>
                <a:gd name="T13" fmla="*/ 33 h 67"/>
                <a:gd name="T14" fmla="*/ 67 w 67"/>
                <a:gd name="T15" fmla="*/ 15 h 67"/>
                <a:gd name="T16" fmla="*/ 52 w 67"/>
                <a:gd name="T17" fmla="*/ 0 h 67"/>
                <a:gd name="T18" fmla="*/ 33 w 67"/>
                <a:gd name="T19" fmla="*/ 19 h 67"/>
                <a:gd name="T20" fmla="*/ 15 w 67"/>
                <a:gd name="T21" fmla="*/ 0 h 67"/>
                <a:gd name="T22" fmla="*/ 0 w 67"/>
                <a:gd name="T23" fmla="*/ 15 h 67"/>
                <a:gd name="T24" fmla="*/ 19 w 67"/>
                <a:gd name="T25" fmla="*/ 33 h 67"/>
                <a:gd name="T26" fmla="*/ 0 w 67"/>
                <a:gd name="T27" fmla="*/ 52 h 67"/>
                <a:gd name="T28" fmla="*/ 15 w 67"/>
                <a:gd name="T2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" h="67">
                  <a:moveTo>
                    <a:pt x="15" y="67"/>
                  </a:moveTo>
                  <a:lnTo>
                    <a:pt x="15" y="66"/>
                  </a:lnTo>
                  <a:lnTo>
                    <a:pt x="33" y="48"/>
                  </a:lnTo>
                  <a:lnTo>
                    <a:pt x="52" y="67"/>
                  </a:lnTo>
                  <a:lnTo>
                    <a:pt x="67" y="52"/>
                  </a:lnTo>
                  <a:lnTo>
                    <a:pt x="66" y="51"/>
                  </a:lnTo>
                  <a:lnTo>
                    <a:pt x="48" y="33"/>
                  </a:lnTo>
                  <a:lnTo>
                    <a:pt x="67" y="15"/>
                  </a:lnTo>
                  <a:lnTo>
                    <a:pt x="52" y="0"/>
                  </a:lnTo>
                  <a:lnTo>
                    <a:pt x="33" y="19"/>
                  </a:lnTo>
                  <a:lnTo>
                    <a:pt x="15" y="0"/>
                  </a:lnTo>
                  <a:lnTo>
                    <a:pt x="0" y="15"/>
                  </a:lnTo>
                  <a:lnTo>
                    <a:pt x="19" y="33"/>
                  </a:lnTo>
                  <a:lnTo>
                    <a:pt x="0" y="52"/>
                  </a:lnTo>
                  <a:lnTo>
                    <a:pt x="15" y="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" name="Freeform 7"/>
            <p:cNvSpPr>
              <a:spLocks/>
            </p:cNvSpPr>
            <p:nvPr/>
          </p:nvSpPr>
          <p:spPr bwMode="black">
            <a:xfrm>
              <a:off x="415396" y="2710777"/>
              <a:ext cx="42625" cy="41978"/>
            </a:xfrm>
            <a:custGeom>
              <a:avLst/>
              <a:gdLst>
                <a:gd name="T0" fmla="*/ 66 w 67"/>
                <a:gd name="T1" fmla="*/ 51 h 66"/>
                <a:gd name="T2" fmla="*/ 48 w 67"/>
                <a:gd name="T3" fmla="*/ 33 h 66"/>
                <a:gd name="T4" fmla="*/ 67 w 67"/>
                <a:gd name="T5" fmla="*/ 14 h 66"/>
                <a:gd name="T6" fmla="*/ 52 w 67"/>
                <a:gd name="T7" fmla="*/ 0 h 66"/>
                <a:gd name="T8" fmla="*/ 33 w 67"/>
                <a:gd name="T9" fmla="*/ 18 h 66"/>
                <a:gd name="T10" fmla="*/ 15 w 67"/>
                <a:gd name="T11" fmla="*/ 0 h 66"/>
                <a:gd name="T12" fmla="*/ 0 w 67"/>
                <a:gd name="T13" fmla="*/ 14 h 66"/>
                <a:gd name="T14" fmla="*/ 19 w 67"/>
                <a:gd name="T15" fmla="*/ 33 h 66"/>
                <a:gd name="T16" fmla="*/ 0 w 67"/>
                <a:gd name="T17" fmla="*/ 51 h 66"/>
                <a:gd name="T18" fmla="*/ 15 w 67"/>
                <a:gd name="T19" fmla="*/ 66 h 66"/>
                <a:gd name="T20" fmla="*/ 15 w 67"/>
                <a:gd name="T21" fmla="*/ 66 h 66"/>
                <a:gd name="T22" fmla="*/ 33 w 67"/>
                <a:gd name="T23" fmla="*/ 48 h 66"/>
                <a:gd name="T24" fmla="*/ 52 w 67"/>
                <a:gd name="T25" fmla="*/ 66 h 66"/>
                <a:gd name="T26" fmla="*/ 67 w 67"/>
                <a:gd name="T27" fmla="*/ 51 h 66"/>
                <a:gd name="T28" fmla="*/ 66 w 67"/>
                <a:gd name="T29" fmla="*/ 5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" h="66">
                  <a:moveTo>
                    <a:pt x="66" y="51"/>
                  </a:moveTo>
                  <a:lnTo>
                    <a:pt x="48" y="33"/>
                  </a:lnTo>
                  <a:lnTo>
                    <a:pt x="67" y="14"/>
                  </a:lnTo>
                  <a:lnTo>
                    <a:pt x="52" y="0"/>
                  </a:lnTo>
                  <a:lnTo>
                    <a:pt x="33" y="18"/>
                  </a:lnTo>
                  <a:lnTo>
                    <a:pt x="15" y="0"/>
                  </a:lnTo>
                  <a:lnTo>
                    <a:pt x="0" y="14"/>
                  </a:lnTo>
                  <a:lnTo>
                    <a:pt x="19" y="33"/>
                  </a:lnTo>
                  <a:lnTo>
                    <a:pt x="0" y="51"/>
                  </a:lnTo>
                  <a:lnTo>
                    <a:pt x="15" y="66"/>
                  </a:lnTo>
                  <a:lnTo>
                    <a:pt x="15" y="66"/>
                  </a:lnTo>
                  <a:lnTo>
                    <a:pt x="33" y="48"/>
                  </a:lnTo>
                  <a:lnTo>
                    <a:pt x="52" y="66"/>
                  </a:lnTo>
                  <a:lnTo>
                    <a:pt x="67" y="51"/>
                  </a:lnTo>
                  <a:lnTo>
                    <a:pt x="66" y="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" name="Freeform 8"/>
            <p:cNvSpPr>
              <a:spLocks/>
            </p:cNvSpPr>
            <p:nvPr/>
          </p:nvSpPr>
          <p:spPr bwMode="black">
            <a:xfrm>
              <a:off x="517822" y="2701237"/>
              <a:ext cx="41988" cy="41978"/>
            </a:xfrm>
            <a:custGeom>
              <a:avLst/>
              <a:gdLst>
                <a:gd name="T0" fmla="*/ 14 w 66"/>
                <a:gd name="T1" fmla="*/ 66 h 66"/>
                <a:gd name="T2" fmla="*/ 15 w 66"/>
                <a:gd name="T3" fmla="*/ 66 h 66"/>
                <a:gd name="T4" fmla="*/ 33 w 66"/>
                <a:gd name="T5" fmla="*/ 48 h 66"/>
                <a:gd name="T6" fmla="*/ 52 w 66"/>
                <a:gd name="T7" fmla="*/ 66 h 66"/>
                <a:gd name="T8" fmla="*/ 66 w 66"/>
                <a:gd name="T9" fmla="*/ 51 h 66"/>
                <a:gd name="T10" fmla="*/ 66 w 66"/>
                <a:gd name="T11" fmla="*/ 51 h 66"/>
                <a:gd name="T12" fmla="*/ 48 w 66"/>
                <a:gd name="T13" fmla="*/ 33 h 66"/>
                <a:gd name="T14" fmla="*/ 66 w 66"/>
                <a:gd name="T15" fmla="*/ 14 h 66"/>
                <a:gd name="T16" fmla="*/ 52 w 66"/>
                <a:gd name="T17" fmla="*/ 0 h 66"/>
                <a:gd name="T18" fmla="*/ 33 w 66"/>
                <a:gd name="T19" fmla="*/ 18 h 66"/>
                <a:gd name="T20" fmla="*/ 14 w 66"/>
                <a:gd name="T21" fmla="*/ 0 h 66"/>
                <a:gd name="T22" fmla="*/ 0 w 66"/>
                <a:gd name="T23" fmla="*/ 14 h 66"/>
                <a:gd name="T24" fmla="*/ 18 w 66"/>
                <a:gd name="T25" fmla="*/ 33 h 66"/>
                <a:gd name="T26" fmla="*/ 0 w 66"/>
                <a:gd name="T27" fmla="*/ 51 h 66"/>
                <a:gd name="T28" fmla="*/ 14 w 66"/>
                <a:gd name="T2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66">
                  <a:moveTo>
                    <a:pt x="14" y="66"/>
                  </a:moveTo>
                  <a:lnTo>
                    <a:pt x="15" y="66"/>
                  </a:lnTo>
                  <a:lnTo>
                    <a:pt x="33" y="48"/>
                  </a:lnTo>
                  <a:lnTo>
                    <a:pt x="52" y="66"/>
                  </a:lnTo>
                  <a:lnTo>
                    <a:pt x="66" y="51"/>
                  </a:lnTo>
                  <a:lnTo>
                    <a:pt x="66" y="51"/>
                  </a:lnTo>
                  <a:lnTo>
                    <a:pt x="48" y="33"/>
                  </a:lnTo>
                  <a:lnTo>
                    <a:pt x="66" y="14"/>
                  </a:lnTo>
                  <a:lnTo>
                    <a:pt x="52" y="0"/>
                  </a:lnTo>
                  <a:lnTo>
                    <a:pt x="33" y="18"/>
                  </a:lnTo>
                  <a:lnTo>
                    <a:pt x="14" y="0"/>
                  </a:lnTo>
                  <a:lnTo>
                    <a:pt x="0" y="14"/>
                  </a:lnTo>
                  <a:lnTo>
                    <a:pt x="18" y="33"/>
                  </a:lnTo>
                  <a:lnTo>
                    <a:pt x="0" y="51"/>
                  </a:lnTo>
                  <a:lnTo>
                    <a:pt x="14" y="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" name="Freeform 9"/>
            <p:cNvSpPr>
              <a:spLocks/>
            </p:cNvSpPr>
            <p:nvPr/>
          </p:nvSpPr>
          <p:spPr bwMode="black">
            <a:xfrm>
              <a:off x="366410" y="2579120"/>
              <a:ext cx="134872" cy="318648"/>
            </a:xfrm>
            <a:custGeom>
              <a:avLst/>
              <a:gdLst>
                <a:gd name="T0" fmla="*/ 938 w 1156"/>
                <a:gd name="T1" fmla="*/ 2724 h 2724"/>
                <a:gd name="T2" fmla="*/ 1139 w 1156"/>
                <a:gd name="T3" fmla="*/ 2523 h 2724"/>
                <a:gd name="T4" fmla="*/ 1036 w 1156"/>
                <a:gd name="T5" fmla="*/ 2347 h 2724"/>
                <a:gd name="T6" fmla="*/ 1156 w 1156"/>
                <a:gd name="T7" fmla="*/ 1686 h 2724"/>
                <a:gd name="T8" fmla="*/ 953 w 1156"/>
                <a:gd name="T9" fmla="*/ 884 h 2724"/>
                <a:gd name="T10" fmla="*/ 188 w 1156"/>
                <a:gd name="T11" fmla="*/ 128 h 2724"/>
                <a:gd name="T12" fmla="*/ 327 w 1156"/>
                <a:gd name="T13" fmla="*/ 90 h 2724"/>
                <a:gd name="T14" fmla="*/ 302 w 1156"/>
                <a:gd name="T15" fmla="*/ 0 h 2724"/>
                <a:gd name="T16" fmla="*/ 0 w 1156"/>
                <a:gd name="T17" fmla="*/ 82 h 2724"/>
                <a:gd name="T18" fmla="*/ 83 w 1156"/>
                <a:gd name="T19" fmla="*/ 385 h 2724"/>
                <a:gd name="T20" fmla="*/ 173 w 1156"/>
                <a:gd name="T21" fmla="*/ 360 h 2724"/>
                <a:gd name="T22" fmla="*/ 135 w 1156"/>
                <a:gd name="T23" fmla="*/ 223 h 2724"/>
                <a:gd name="T24" fmla="*/ 858 w 1156"/>
                <a:gd name="T25" fmla="*/ 937 h 2724"/>
                <a:gd name="T26" fmla="*/ 1047 w 1156"/>
                <a:gd name="T27" fmla="*/ 1686 h 2724"/>
                <a:gd name="T28" fmla="*/ 979 w 1156"/>
                <a:gd name="T29" fmla="*/ 2171 h 2724"/>
                <a:gd name="T30" fmla="*/ 933 w 1156"/>
                <a:gd name="T31" fmla="*/ 2312 h 2724"/>
                <a:gd name="T32" fmla="*/ 929 w 1156"/>
                <a:gd name="T33" fmla="*/ 2321 h 2724"/>
                <a:gd name="T34" fmla="*/ 736 w 1156"/>
                <a:gd name="T35" fmla="*/ 2523 h 2724"/>
                <a:gd name="T36" fmla="*/ 938 w 1156"/>
                <a:gd name="T37" fmla="*/ 2724 h 2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56" h="2724">
                  <a:moveTo>
                    <a:pt x="938" y="2724"/>
                  </a:moveTo>
                  <a:cubicBezTo>
                    <a:pt x="1049" y="2724"/>
                    <a:pt x="1139" y="2634"/>
                    <a:pt x="1139" y="2523"/>
                  </a:cubicBezTo>
                  <a:cubicBezTo>
                    <a:pt x="1139" y="2447"/>
                    <a:pt x="1098" y="2382"/>
                    <a:pt x="1036" y="2347"/>
                  </a:cubicBezTo>
                  <a:cubicBezTo>
                    <a:pt x="1078" y="2239"/>
                    <a:pt x="1156" y="1994"/>
                    <a:pt x="1156" y="1686"/>
                  </a:cubicBezTo>
                  <a:cubicBezTo>
                    <a:pt x="1156" y="1444"/>
                    <a:pt x="1108" y="1164"/>
                    <a:pt x="953" y="884"/>
                  </a:cubicBezTo>
                  <a:cubicBezTo>
                    <a:pt x="807" y="619"/>
                    <a:pt x="566" y="356"/>
                    <a:pt x="188" y="128"/>
                  </a:cubicBezTo>
                  <a:cubicBezTo>
                    <a:pt x="327" y="90"/>
                    <a:pt x="327" y="90"/>
                    <a:pt x="327" y="90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83" y="385"/>
                    <a:pt x="83" y="385"/>
                    <a:pt x="83" y="385"/>
                  </a:cubicBezTo>
                  <a:cubicBezTo>
                    <a:pt x="173" y="360"/>
                    <a:pt x="173" y="360"/>
                    <a:pt x="173" y="360"/>
                  </a:cubicBezTo>
                  <a:cubicBezTo>
                    <a:pt x="135" y="223"/>
                    <a:pt x="135" y="223"/>
                    <a:pt x="135" y="223"/>
                  </a:cubicBezTo>
                  <a:cubicBezTo>
                    <a:pt x="497" y="443"/>
                    <a:pt x="721" y="690"/>
                    <a:pt x="858" y="937"/>
                  </a:cubicBezTo>
                  <a:cubicBezTo>
                    <a:pt x="1002" y="1198"/>
                    <a:pt x="1047" y="1459"/>
                    <a:pt x="1047" y="1686"/>
                  </a:cubicBezTo>
                  <a:cubicBezTo>
                    <a:pt x="1047" y="1881"/>
                    <a:pt x="1013" y="2051"/>
                    <a:pt x="979" y="2171"/>
                  </a:cubicBezTo>
                  <a:cubicBezTo>
                    <a:pt x="963" y="2231"/>
                    <a:pt x="946" y="2279"/>
                    <a:pt x="933" y="2312"/>
                  </a:cubicBezTo>
                  <a:cubicBezTo>
                    <a:pt x="932" y="2315"/>
                    <a:pt x="931" y="2318"/>
                    <a:pt x="929" y="2321"/>
                  </a:cubicBezTo>
                  <a:cubicBezTo>
                    <a:pt x="822" y="2326"/>
                    <a:pt x="736" y="2414"/>
                    <a:pt x="736" y="2523"/>
                  </a:cubicBezTo>
                  <a:cubicBezTo>
                    <a:pt x="736" y="2634"/>
                    <a:pt x="826" y="2724"/>
                    <a:pt x="938" y="27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" name="Oval 10"/>
            <p:cNvSpPr>
              <a:spLocks noChangeArrowheads="1"/>
            </p:cNvSpPr>
            <p:nvPr/>
          </p:nvSpPr>
          <p:spPr bwMode="black">
            <a:xfrm>
              <a:off x="465019" y="2863423"/>
              <a:ext cx="21630" cy="216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" name="Freeform 11"/>
            <p:cNvSpPr>
              <a:spLocks/>
            </p:cNvSpPr>
            <p:nvPr/>
          </p:nvSpPr>
          <p:spPr bwMode="black">
            <a:xfrm>
              <a:off x="511461" y="2717773"/>
              <a:ext cx="125965" cy="140561"/>
            </a:xfrm>
            <a:custGeom>
              <a:avLst/>
              <a:gdLst>
                <a:gd name="T0" fmla="*/ 695 w 1079"/>
                <a:gd name="T1" fmla="*/ 124 h 1206"/>
                <a:gd name="T2" fmla="*/ 834 w 1079"/>
                <a:gd name="T3" fmla="*/ 90 h 1206"/>
                <a:gd name="T4" fmla="*/ 812 w 1079"/>
                <a:gd name="T5" fmla="*/ 0 h 1206"/>
                <a:gd name="T6" fmla="*/ 507 w 1079"/>
                <a:gd name="T7" fmla="*/ 73 h 1206"/>
                <a:gd name="T8" fmla="*/ 580 w 1079"/>
                <a:gd name="T9" fmla="*/ 378 h 1206"/>
                <a:gd name="T10" fmla="*/ 671 w 1079"/>
                <a:gd name="T11" fmla="*/ 356 h 1206"/>
                <a:gd name="T12" fmla="*/ 638 w 1079"/>
                <a:gd name="T13" fmla="*/ 217 h 1206"/>
                <a:gd name="T14" fmla="*/ 924 w 1079"/>
                <a:gd name="T15" fmla="*/ 392 h 1206"/>
                <a:gd name="T16" fmla="*/ 528 w 1079"/>
                <a:gd name="T17" fmla="*/ 753 h 1206"/>
                <a:gd name="T18" fmla="*/ 362 w 1079"/>
                <a:gd name="T19" fmla="*/ 844 h 1206"/>
                <a:gd name="T20" fmla="*/ 337 w 1079"/>
                <a:gd name="T21" fmla="*/ 856 h 1206"/>
                <a:gd name="T22" fmla="*/ 201 w 1079"/>
                <a:gd name="T23" fmla="*/ 803 h 1206"/>
                <a:gd name="T24" fmla="*/ 0 w 1079"/>
                <a:gd name="T25" fmla="*/ 1005 h 1206"/>
                <a:gd name="T26" fmla="*/ 201 w 1079"/>
                <a:gd name="T27" fmla="*/ 1206 h 1206"/>
                <a:gd name="T28" fmla="*/ 403 w 1079"/>
                <a:gd name="T29" fmla="*/ 1005 h 1206"/>
                <a:gd name="T30" fmla="*/ 395 w 1079"/>
                <a:gd name="T31" fmla="*/ 949 h 1206"/>
                <a:gd name="T32" fmla="*/ 1047 w 1079"/>
                <a:gd name="T33" fmla="*/ 406 h 1206"/>
                <a:gd name="T34" fmla="*/ 1079 w 1079"/>
                <a:gd name="T35" fmla="*/ 359 h 1206"/>
                <a:gd name="T36" fmla="*/ 695 w 1079"/>
                <a:gd name="T37" fmla="*/ 124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9" h="1206">
                  <a:moveTo>
                    <a:pt x="695" y="124"/>
                  </a:moveTo>
                  <a:cubicBezTo>
                    <a:pt x="834" y="90"/>
                    <a:pt x="834" y="90"/>
                    <a:pt x="834" y="9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507" y="73"/>
                    <a:pt x="507" y="73"/>
                    <a:pt x="507" y="73"/>
                  </a:cubicBezTo>
                  <a:cubicBezTo>
                    <a:pt x="580" y="378"/>
                    <a:pt x="580" y="378"/>
                    <a:pt x="580" y="378"/>
                  </a:cubicBezTo>
                  <a:cubicBezTo>
                    <a:pt x="671" y="356"/>
                    <a:pt x="671" y="356"/>
                    <a:pt x="671" y="356"/>
                  </a:cubicBezTo>
                  <a:cubicBezTo>
                    <a:pt x="638" y="217"/>
                    <a:pt x="638" y="217"/>
                    <a:pt x="638" y="217"/>
                  </a:cubicBezTo>
                  <a:cubicBezTo>
                    <a:pt x="924" y="392"/>
                    <a:pt x="924" y="392"/>
                    <a:pt x="924" y="392"/>
                  </a:cubicBezTo>
                  <a:cubicBezTo>
                    <a:pt x="800" y="559"/>
                    <a:pt x="651" y="677"/>
                    <a:pt x="528" y="753"/>
                  </a:cubicBezTo>
                  <a:cubicBezTo>
                    <a:pt x="462" y="795"/>
                    <a:pt x="403" y="825"/>
                    <a:pt x="362" y="844"/>
                  </a:cubicBezTo>
                  <a:cubicBezTo>
                    <a:pt x="353" y="849"/>
                    <a:pt x="344" y="853"/>
                    <a:pt x="337" y="856"/>
                  </a:cubicBezTo>
                  <a:cubicBezTo>
                    <a:pt x="301" y="823"/>
                    <a:pt x="253" y="803"/>
                    <a:pt x="201" y="803"/>
                  </a:cubicBezTo>
                  <a:cubicBezTo>
                    <a:pt x="90" y="803"/>
                    <a:pt x="0" y="894"/>
                    <a:pt x="0" y="1005"/>
                  </a:cubicBezTo>
                  <a:cubicBezTo>
                    <a:pt x="0" y="1116"/>
                    <a:pt x="90" y="1206"/>
                    <a:pt x="201" y="1206"/>
                  </a:cubicBezTo>
                  <a:cubicBezTo>
                    <a:pt x="312" y="1206"/>
                    <a:pt x="403" y="1116"/>
                    <a:pt x="403" y="1005"/>
                  </a:cubicBezTo>
                  <a:cubicBezTo>
                    <a:pt x="403" y="986"/>
                    <a:pt x="400" y="967"/>
                    <a:pt x="395" y="949"/>
                  </a:cubicBezTo>
                  <a:cubicBezTo>
                    <a:pt x="524" y="891"/>
                    <a:pt x="829" y="729"/>
                    <a:pt x="1047" y="406"/>
                  </a:cubicBezTo>
                  <a:cubicBezTo>
                    <a:pt x="1079" y="359"/>
                    <a:pt x="1079" y="359"/>
                    <a:pt x="1079" y="359"/>
                  </a:cubicBezTo>
                  <a:lnTo>
                    <a:pt x="695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" name="Oval 12"/>
            <p:cNvSpPr>
              <a:spLocks noChangeArrowheads="1"/>
            </p:cNvSpPr>
            <p:nvPr/>
          </p:nvSpPr>
          <p:spPr bwMode="black">
            <a:xfrm>
              <a:off x="524184" y="2823989"/>
              <a:ext cx="21630" cy="216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Freeform 13"/>
            <p:cNvSpPr>
              <a:spLocks/>
            </p:cNvSpPr>
            <p:nvPr/>
          </p:nvSpPr>
          <p:spPr bwMode="black">
            <a:xfrm>
              <a:off x="346052" y="2750211"/>
              <a:ext cx="86522" cy="129113"/>
            </a:xfrm>
            <a:custGeom>
              <a:avLst/>
              <a:gdLst>
                <a:gd name="T0" fmla="*/ 537 w 738"/>
                <a:gd name="T1" fmla="*/ 706 h 1109"/>
                <a:gd name="T2" fmla="*/ 506 w 738"/>
                <a:gd name="T3" fmla="*/ 708 h 1109"/>
                <a:gd name="T4" fmla="*/ 273 w 738"/>
                <a:gd name="T5" fmla="*/ 155 h 1109"/>
                <a:gd name="T6" fmla="*/ 408 w 738"/>
                <a:gd name="T7" fmla="*/ 101 h 1109"/>
                <a:gd name="T8" fmla="*/ 368 w 738"/>
                <a:gd name="T9" fmla="*/ 0 h 1109"/>
                <a:gd name="T10" fmla="*/ 0 w 738"/>
                <a:gd name="T11" fmla="*/ 147 h 1109"/>
                <a:gd name="T12" fmla="*/ 41 w 738"/>
                <a:gd name="T13" fmla="*/ 248 h 1109"/>
                <a:gd name="T14" fmla="*/ 172 w 738"/>
                <a:gd name="T15" fmla="*/ 195 h 1109"/>
                <a:gd name="T16" fmla="*/ 407 w 738"/>
                <a:gd name="T17" fmla="*/ 753 h 1109"/>
                <a:gd name="T18" fmla="*/ 335 w 738"/>
                <a:gd name="T19" fmla="*/ 908 h 1109"/>
                <a:gd name="T20" fmla="*/ 537 w 738"/>
                <a:gd name="T21" fmla="*/ 1109 h 1109"/>
                <a:gd name="T22" fmla="*/ 738 w 738"/>
                <a:gd name="T23" fmla="*/ 908 h 1109"/>
                <a:gd name="T24" fmla="*/ 537 w 738"/>
                <a:gd name="T25" fmla="*/ 706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8" h="1109">
                  <a:moveTo>
                    <a:pt x="537" y="706"/>
                  </a:moveTo>
                  <a:cubicBezTo>
                    <a:pt x="526" y="706"/>
                    <a:pt x="516" y="707"/>
                    <a:pt x="506" y="708"/>
                  </a:cubicBezTo>
                  <a:cubicBezTo>
                    <a:pt x="273" y="155"/>
                    <a:pt x="273" y="155"/>
                    <a:pt x="273" y="155"/>
                  </a:cubicBezTo>
                  <a:cubicBezTo>
                    <a:pt x="408" y="101"/>
                    <a:pt x="408" y="101"/>
                    <a:pt x="408" y="101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41" y="248"/>
                    <a:pt x="41" y="248"/>
                    <a:pt x="41" y="248"/>
                  </a:cubicBezTo>
                  <a:cubicBezTo>
                    <a:pt x="172" y="195"/>
                    <a:pt x="172" y="195"/>
                    <a:pt x="172" y="195"/>
                  </a:cubicBezTo>
                  <a:cubicBezTo>
                    <a:pt x="407" y="753"/>
                    <a:pt x="407" y="753"/>
                    <a:pt x="407" y="753"/>
                  </a:cubicBezTo>
                  <a:cubicBezTo>
                    <a:pt x="363" y="790"/>
                    <a:pt x="335" y="846"/>
                    <a:pt x="335" y="908"/>
                  </a:cubicBezTo>
                  <a:cubicBezTo>
                    <a:pt x="335" y="1019"/>
                    <a:pt x="425" y="1109"/>
                    <a:pt x="537" y="1109"/>
                  </a:cubicBezTo>
                  <a:cubicBezTo>
                    <a:pt x="648" y="1109"/>
                    <a:pt x="738" y="1019"/>
                    <a:pt x="738" y="908"/>
                  </a:cubicBezTo>
                  <a:cubicBezTo>
                    <a:pt x="738" y="796"/>
                    <a:pt x="648" y="706"/>
                    <a:pt x="537" y="70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Oval 14"/>
            <p:cNvSpPr>
              <a:spLocks noChangeArrowheads="1"/>
            </p:cNvSpPr>
            <p:nvPr/>
          </p:nvSpPr>
          <p:spPr bwMode="black">
            <a:xfrm>
              <a:off x="398219" y="2844978"/>
              <a:ext cx="21630" cy="216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6" name="Content Placeholder 47"/>
          <p:cNvSpPr>
            <a:spLocks noGrp="1"/>
          </p:cNvSpPr>
          <p:nvPr userDrawn="1">
            <p:ph sz="quarter" idx="24" hasCustomPrompt="1"/>
          </p:nvPr>
        </p:nvSpPr>
        <p:spPr>
          <a:xfrm>
            <a:off x="228388" y="2926801"/>
            <a:ext cx="3767638" cy="1382273"/>
          </a:xfrm>
        </p:spPr>
        <p:txBody>
          <a:bodyPr lIns="45720" tIns="45720" rIns="45720"/>
          <a:lstStyle>
            <a:lvl1pPr marL="171381" indent="-171381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lang="en-US" sz="1200" kern="1200" spc="0" baseline="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171381" indent="-171381">
              <a:buFont typeface="Wingdings" panose="05000000000000000000" pitchFamily="2" charset="2"/>
              <a:buChar char="§"/>
              <a:defRPr lang="en-US" sz="1100" kern="1200" spc="-71" baseline="0" dirty="0" smtClean="0">
                <a:solidFill>
                  <a:schemeClr val="accent6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285636" indent="-171381">
              <a:buFont typeface="Wingdings" panose="05000000000000000000" pitchFamily="2" charset="2"/>
              <a:buChar char="§"/>
              <a:defRPr sz="1100"/>
            </a:lvl3pPr>
            <a:lvl4pPr marL="349110" indent="-171381">
              <a:buFont typeface="Wingdings" panose="05000000000000000000" pitchFamily="2" charset="2"/>
              <a:buChar char="§"/>
              <a:defRPr sz="1050"/>
            </a:lvl4pPr>
            <a:lvl5pPr marL="349110" indent="-171381">
              <a:buFont typeface="Wingdings" panose="05000000000000000000" pitchFamily="2" charset="2"/>
              <a:buChar char="§"/>
              <a:defRPr sz="105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Content Placeholder 47"/>
          <p:cNvSpPr>
            <a:spLocks noGrp="1"/>
          </p:cNvSpPr>
          <p:nvPr userDrawn="1">
            <p:ph sz="quarter" idx="25" hasCustomPrompt="1"/>
          </p:nvPr>
        </p:nvSpPr>
        <p:spPr>
          <a:xfrm>
            <a:off x="235733" y="5065284"/>
            <a:ext cx="3767638" cy="1382273"/>
          </a:xfrm>
        </p:spPr>
        <p:txBody>
          <a:bodyPr lIns="45720" tIns="45720" rIns="45720"/>
          <a:lstStyle>
            <a:lvl1pPr marL="171381" indent="-171381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lang="en-US" sz="1200" kern="1200" spc="0" baseline="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171381" indent="-171381">
              <a:buFont typeface="Wingdings" panose="05000000000000000000" pitchFamily="2" charset="2"/>
              <a:buChar char="§"/>
              <a:defRPr lang="en-US" sz="1100" kern="1200" spc="-71" baseline="0" dirty="0" smtClean="0">
                <a:solidFill>
                  <a:schemeClr val="accent6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285636" indent="-171381">
              <a:buFont typeface="Wingdings" panose="05000000000000000000" pitchFamily="2" charset="2"/>
              <a:buChar char="§"/>
              <a:defRPr sz="1100"/>
            </a:lvl3pPr>
            <a:lvl4pPr marL="349110" indent="-171381">
              <a:buFont typeface="Wingdings" panose="05000000000000000000" pitchFamily="2" charset="2"/>
              <a:buChar char="§"/>
              <a:defRPr sz="1050"/>
            </a:lvl4pPr>
            <a:lvl5pPr marL="349110" indent="-171381">
              <a:buFont typeface="Wingdings" panose="05000000000000000000" pitchFamily="2" charset="2"/>
              <a:buChar char="§"/>
              <a:defRPr sz="105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29"/>
          </p:nvPr>
        </p:nvSpPr>
        <p:spPr>
          <a:xfrm>
            <a:off x="9100615" y="693145"/>
            <a:ext cx="3043779" cy="955509"/>
          </a:xfrm>
        </p:spPr>
        <p:txBody>
          <a:bodyPr rIns="45720" anchor="ctr"/>
          <a:lstStyle>
            <a:lvl1pPr marL="0" indent="0">
              <a:buFontTx/>
              <a:buNone/>
              <a:defRPr sz="1399" spc="0" baseline="0">
                <a:solidFill>
                  <a:schemeClr val="bg1"/>
                </a:solidFill>
              </a:defRPr>
            </a:lvl1pPr>
            <a:lvl2pPr marL="57127" indent="0">
              <a:buFontTx/>
              <a:buNone/>
              <a:defRPr sz="1200" spc="0" baseline="0">
                <a:solidFill>
                  <a:schemeClr val="bg1"/>
                </a:solidFill>
              </a:defRPr>
            </a:lvl2pPr>
            <a:lvl3pPr marL="111081" indent="0">
              <a:buFontTx/>
              <a:buNone/>
              <a:defRPr sz="1200" spc="0" baseline="0">
                <a:solidFill>
                  <a:schemeClr val="bg1"/>
                </a:solidFill>
              </a:defRPr>
            </a:lvl3pPr>
            <a:lvl4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4pPr>
            <a:lvl5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3" name="Text Placeholder 2"/>
          <p:cNvSpPr>
            <a:spLocks noGrp="1"/>
          </p:cNvSpPr>
          <p:nvPr userDrawn="1">
            <p:ph type="body" sz="quarter" idx="30"/>
          </p:nvPr>
        </p:nvSpPr>
        <p:spPr>
          <a:xfrm>
            <a:off x="9100615" y="1768989"/>
            <a:ext cx="3043779" cy="955509"/>
          </a:xfrm>
        </p:spPr>
        <p:txBody>
          <a:bodyPr rIns="45720" anchor="ctr"/>
          <a:lstStyle>
            <a:lvl1pPr marL="0" indent="0">
              <a:buFontTx/>
              <a:buNone/>
              <a:defRPr sz="1399" spc="0" baseline="0">
                <a:solidFill>
                  <a:schemeClr val="bg1"/>
                </a:solidFill>
              </a:defRPr>
            </a:lvl1pPr>
            <a:lvl2pPr marL="57127" indent="0">
              <a:buFontTx/>
              <a:buNone/>
              <a:defRPr sz="1200" spc="0" baseline="0">
                <a:solidFill>
                  <a:schemeClr val="bg1"/>
                </a:solidFill>
              </a:defRPr>
            </a:lvl2pPr>
            <a:lvl3pPr marL="111081" indent="0">
              <a:buFontTx/>
              <a:buNone/>
              <a:defRPr sz="1200" spc="0" baseline="0">
                <a:solidFill>
                  <a:schemeClr val="bg1"/>
                </a:solidFill>
              </a:defRPr>
            </a:lvl3pPr>
            <a:lvl4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4pPr>
            <a:lvl5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4" name="Text Placeholder 2"/>
          <p:cNvSpPr>
            <a:spLocks noGrp="1"/>
          </p:cNvSpPr>
          <p:nvPr userDrawn="1">
            <p:ph type="body" sz="quarter" idx="31"/>
          </p:nvPr>
        </p:nvSpPr>
        <p:spPr>
          <a:xfrm>
            <a:off x="9100615" y="2844447"/>
            <a:ext cx="3043779" cy="955509"/>
          </a:xfrm>
        </p:spPr>
        <p:txBody>
          <a:bodyPr rIns="45720" anchor="ctr"/>
          <a:lstStyle>
            <a:lvl1pPr marL="0" indent="0">
              <a:buFontTx/>
              <a:buNone/>
              <a:defRPr sz="1399" spc="0" baseline="0">
                <a:solidFill>
                  <a:schemeClr val="bg1"/>
                </a:solidFill>
              </a:defRPr>
            </a:lvl1pPr>
            <a:lvl2pPr marL="57127" indent="0">
              <a:buFontTx/>
              <a:buNone/>
              <a:defRPr sz="1200" spc="0" baseline="0">
                <a:solidFill>
                  <a:schemeClr val="bg1"/>
                </a:solidFill>
              </a:defRPr>
            </a:lvl2pPr>
            <a:lvl3pPr marL="111081" indent="0">
              <a:buFontTx/>
              <a:buNone/>
              <a:defRPr sz="1200" spc="0" baseline="0">
                <a:solidFill>
                  <a:schemeClr val="bg1"/>
                </a:solidFill>
              </a:defRPr>
            </a:lvl3pPr>
            <a:lvl4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4pPr>
            <a:lvl5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097233" y="3963679"/>
            <a:ext cx="1869512" cy="355306"/>
            <a:chOff x="7908758" y="5507034"/>
            <a:chExt cx="1870242" cy="355224"/>
          </a:xfrm>
        </p:grpSpPr>
        <p:sp>
          <p:nvSpPr>
            <p:cNvPr id="45" name="Rectangle 44"/>
            <p:cNvSpPr/>
            <p:nvPr userDrawn="1"/>
          </p:nvSpPr>
          <p:spPr bwMode="auto">
            <a:xfrm>
              <a:off x="7908758" y="5507034"/>
              <a:ext cx="1870242" cy="35522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99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Knowledge</a:t>
              </a:r>
            </a:p>
          </p:txBody>
        </p:sp>
        <p:pic>
          <p:nvPicPr>
            <p:cNvPr id="46" name="Picture 30" descr="service-based.png"/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08558" y="5547486"/>
              <a:ext cx="264616" cy="27432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3" name="Group 12"/>
          <p:cNvGrpSpPr/>
          <p:nvPr userDrawn="1"/>
        </p:nvGrpSpPr>
        <p:grpSpPr>
          <a:xfrm>
            <a:off x="7943754" y="3963679"/>
            <a:ext cx="1869512" cy="355306"/>
            <a:chOff x="7908758" y="3784961"/>
            <a:chExt cx="1870242" cy="355224"/>
          </a:xfrm>
        </p:grpSpPr>
        <p:sp>
          <p:nvSpPr>
            <p:cNvPr id="24" name="Rectangle 23"/>
            <p:cNvSpPr/>
            <p:nvPr userDrawn="1"/>
          </p:nvSpPr>
          <p:spPr bwMode="auto">
            <a:xfrm>
              <a:off x="7908758" y="3784961"/>
              <a:ext cx="1870242" cy="35522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99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Skills</a:t>
              </a:r>
            </a:p>
          </p:txBody>
        </p:sp>
        <p:sp>
          <p:nvSpPr>
            <p:cNvPr id="47" name="Freeform 43"/>
            <p:cNvSpPr>
              <a:spLocks noChangeAspect="1" noEditPoints="1"/>
            </p:cNvSpPr>
            <p:nvPr userDrawn="1"/>
          </p:nvSpPr>
          <p:spPr bwMode="black">
            <a:xfrm>
              <a:off x="8032537" y="3838645"/>
              <a:ext cx="265176" cy="247856"/>
            </a:xfrm>
            <a:custGeom>
              <a:avLst/>
              <a:gdLst>
                <a:gd name="T0" fmla="*/ 106 w 800"/>
                <a:gd name="T1" fmla="*/ 178 h 748"/>
                <a:gd name="T2" fmla="*/ 204 w 800"/>
                <a:gd name="T3" fmla="*/ 88 h 748"/>
                <a:gd name="T4" fmla="*/ 495 w 800"/>
                <a:gd name="T5" fmla="*/ 588 h 748"/>
                <a:gd name="T6" fmla="*/ 398 w 800"/>
                <a:gd name="T7" fmla="*/ 677 h 748"/>
                <a:gd name="T8" fmla="*/ 148 w 800"/>
                <a:gd name="T9" fmla="*/ 300 h 748"/>
                <a:gd name="T10" fmla="*/ 84 w 800"/>
                <a:gd name="T11" fmla="*/ 138 h 748"/>
                <a:gd name="T12" fmla="*/ 49 w 800"/>
                <a:gd name="T13" fmla="*/ 220 h 748"/>
                <a:gd name="T14" fmla="*/ 0 w 800"/>
                <a:gd name="T15" fmla="*/ 499 h 748"/>
                <a:gd name="T16" fmla="*/ 148 w 800"/>
                <a:gd name="T17" fmla="*/ 300 h 748"/>
                <a:gd name="T18" fmla="*/ 263 w 800"/>
                <a:gd name="T19" fmla="*/ 719 h 748"/>
                <a:gd name="T20" fmla="*/ 257 w 800"/>
                <a:gd name="T21" fmla="*/ 657 h 748"/>
                <a:gd name="T22" fmla="*/ 169 w 800"/>
                <a:gd name="T23" fmla="*/ 732 h 748"/>
                <a:gd name="T24" fmla="*/ 229 w 800"/>
                <a:gd name="T25" fmla="*/ 661 h 748"/>
                <a:gd name="T26" fmla="*/ 169 w 800"/>
                <a:gd name="T27" fmla="*/ 732 h 748"/>
                <a:gd name="T28" fmla="*/ 144 w 800"/>
                <a:gd name="T29" fmla="*/ 735 h 748"/>
                <a:gd name="T30" fmla="*/ 138 w 800"/>
                <a:gd name="T31" fmla="*/ 674 h 748"/>
                <a:gd name="T32" fmla="*/ 51 w 800"/>
                <a:gd name="T33" fmla="*/ 748 h 748"/>
                <a:gd name="T34" fmla="*/ 111 w 800"/>
                <a:gd name="T35" fmla="*/ 678 h 748"/>
                <a:gd name="T36" fmla="*/ 51 w 800"/>
                <a:gd name="T37" fmla="*/ 748 h 748"/>
                <a:gd name="T38" fmla="*/ 28 w 800"/>
                <a:gd name="T39" fmla="*/ 716 h 748"/>
                <a:gd name="T40" fmla="*/ 47 w 800"/>
                <a:gd name="T41" fmla="*/ 741 h 748"/>
                <a:gd name="T42" fmla="*/ 351 w 800"/>
                <a:gd name="T43" fmla="*/ 696 h 748"/>
                <a:gd name="T44" fmla="*/ 328 w 800"/>
                <a:gd name="T45" fmla="*/ 659 h 748"/>
                <a:gd name="T46" fmla="*/ 277 w 800"/>
                <a:gd name="T47" fmla="*/ 706 h 748"/>
                <a:gd name="T48" fmla="*/ 457 w 800"/>
                <a:gd name="T49" fmla="*/ 471 h 748"/>
                <a:gd name="T50" fmla="*/ 505 w 800"/>
                <a:gd name="T51" fmla="*/ 567 h 748"/>
                <a:gd name="T52" fmla="*/ 509 w 800"/>
                <a:gd name="T53" fmla="*/ 568 h 748"/>
                <a:gd name="T54" fmla="*/ 516 w 800"/>
                <a:gd name="T55" fmla="*/ 556 h 748"/>
                <a:gd name="T56" fmla="*/ 667 w 800"/>
                <a:gd name="T57" fmla="*/ 326 h 748"/>
                <a:gd name="T58" fmla="*/ 794 w 800"/>
                <a:gd name="T59" fmla="*/ 166 h 748"/>
                <a:gd name="T60" fmla="*/ 715 w 800"/>
                <a:gd name="T61" fmla="*/ 260 h 748"/>
                <a:gd name="T62" fmla="*/ 775 w 800"/>
                <a:gd name="T63" fmla="*/ 124 h 748"/>
                <a:gd name="T64" fmla="*/ 682 w 800"/>
                <a:gd name="T65" fmla="*/ 241 h 748"/>
                <a:gd name="T66" fmla="*/ 742 w 800"/>
                <a:gd name="T67" fmla="*/ 104 h 748"/>
                <a:gd name="T68" fmla="*/ 650 w 800"/>
                <a:gd name="T69" fmla="*/ 221 h 748"/>
                <a:gd name="T70" fmla="*/ 709 w 800"/>
                <a:gd name="T71" fmla="*/ 85 h 748"/>
                <a:gd name="T72" fmla="*/ 589 w 800"/>
                <a:gd name="T73" fmla="*/ 248 h 748"/>
                <a:gd name="T74" fmla="*/ 615 w 800"/>
                <a:gd name="T75" fmla="*/ 294 h 748"/>
                <a:gd name="T76" fmla="*/ 520 w 800"/>
                <a:gd name="T77" fmla="*/ 247 h 748"/>
                <a:gd name="T78" fmla="*/ 490 w 800"/>
                <a:gd name="T79" fmla="*/ 1 h 748"/>
                <a:gd name="T80" fmla="*/ 460 w 800"/>
                <a:gd name="T81" fmla="*/ 249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00" h="748">
                  <a:moveTo>
                    <a:pt x="350" y="661"/>
                  </a:moveTo>
                  <a:cubicBezTo>
                    <a:pt x="106" y="178"/>
                    <a:pt x="106" y="178"/>
                    <a:pt x="106" y="178"/>
                  </a:cubicBezTo>
                  <a:cubicBezTo>
                    <a:pt x="98" y="160"/>
                    <a:pt x="105" y="138"/>
                    <a:pt x="122" y="130"/>
                  </a:cubicBezTo>
                  <a:cubicBezTo>
                    <a:pt x="204" y="88"/>
                    <a:pt x="204" y="88"/>
                    <a:pt x="204" y="88"/>
                  </a:cubicBezTo>
                  <a:cubicBezTo>
                    <a:pt x="222" y="80"/>
                    <a:pt x="244" y="87"/>
                    <a:pt x="252" y="104"/>
                  </a:cubicBezTo>
                  <a:cubicBezTo>
                    <a:pt x="495" y="588"/>
                    <a:pt x="495" y="588"/>
                    <a:pt x="495" y="588"/>
                  </a:cubicBezTo>
                  <a:cubicBezTo>
                    <a:pt x="504" y="605"/>
                    <a:pt x="497" y="627"/>
                    <a:pt x="479" y="636"/>
                  </a:cubicBezTo>
                  <a:cubicBezTo>
                    <a:pt x="398" y="677"/>
                    <a:pt x="398" y="677"/>
                    <a:pt x="398" y="677"/>
                  </a:cubicBezTo>
                  <a:cubicBezTo>
                    <a:pt x="380" y="686"/>
                    <a:pt x="358" y="679"/>
                    <a:pt x="350" y="661"/>
                  </a:cubicBezTo>
                  <a:close/>
                  <a:moveTo>
                    <a:pt x="148" y="300"/>
                  </a:moveTo>
                  <a:cubicBezTo>
                    <a:pt x="83" y="171"/>
                    <a:pt x="83" y="171"/>
                    <a:pt x="83" y="171"/>
                  </a:cubicBezTo>
                  <a:cubicBezTo>
                    <a:pt x="78" y="161"/>
                    <a:pt x="79" y="148"/>
                    <a:pt x="84" y="138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49" y="220"/>
                    <a:pt x="49" y="220"/>
                    <a:pt x="49" y="220"/>
                  </a:cubicBezTo>
                  <a:cubicBezTo>
                    <a:pt x="63" y="223"/>
                    <a:pt x="63" y="223"/>
                    <a:pt x="63" y="223"/>
                  </a:cubicBezTo>
                  <a:cubicBezTo>
                    <a:pt x="49" y="325"/>
                    <a:pt x="0" y="388"/>
                    <a:pt x="0" y="499"/>
                  </a:cubicBezTo>
                  <a:cubicBezTo>
                    <a:pt x="18" y="529"/>
                    <a:pt x="26" y="622"/>
                    <a:pt x="14" y="672"/>
                  </a:cubicBezTo>
                  <a:cubicBezTo>
                    <a:pt x="85" y="555"/>
                    <a:pt x="129" y="431"/>
                    <a:pt x="148" y="300"/>
                  </a:cubicBezTo>
                  <a:close/>
                  <a:moveTo>
                    <a:pt x="230" y="723"/>
                  </a:moveTo>
                  <a:cubicBezTo>
                    <a:pt x="263" y="719"/>
                    <a:pt x="263" y="719"/>
                    <a:pt x="263" y="719"/>
                  </a:cubicBezTo>
                  <a:cubicBezTo>
                    <a:pt x="290" y="653"/>
                    <a:pt x="290" y="653"/>
                    <a:pt x="290" y="653"/>
                  </a:cubicBezTo>
                  <a:cubicBezTo>
                    <a:pt x="257" y="657"/>
                    <a:pt x="257" y="657"/>
                    <a:pt x="257" y="657"/>
                  </a:cubicBezTo>
                  <a:cubicBezTo>
                    <a:pt x="230" y="723"/>
                    <a:pt x="230" y="723"/>
                    <a:pt x="230" y="723"/>
                  </a:cubicBezTo>
                  <a:close/>
                  <a:moveTo>
                    <a:pt x="169" y="732"/>
                  </a:moveTo>
                  <a:cubicBezTo>
                    <a:pt x="202" y="727"/>
                    <a:pt x="202" y="727"/>
                    <a:pt x="202" y="727"/>
                  </a:cubicBezTo>
                  <a:cubicBezTo>
                    <a:pt x="229" y="661"/>
                    <a:pt x="229" y="661"/>
                    <a:pt x="229" y="661"/>
                  </a:cubicBezTo>
                  <a:cubicBezTo>
                    <a:pt x="196" y="666"/>
                    <a:pt x="196" y="666"/>
                    <a:pt x="196" y="666"/>
                  </a:cubicBezTo>
                  <a:cubicBezTo>
                    <a:pt x="169" y="732"/>
                    <a:pt x="169" y="732"/>
                    <a:pt x="169" y="732"/>
                  </a:cubicBezTo>
                  <a:close/>
                  <a:moveTo>
                    <a:pt x="111" y="740"/>
                  </a:moveTo>
                  <a:cubicBezTo>
                    <a:pt x="144" y="735"/>
                    <a:pt x="144" y="735"/>
                    <a:pt x="144" y="735"/>
                  </a:cubicBezTo>
                  <a:cubicBezTo>
                    <a:pt x="171" y="669"/>
                    <a:pt x="171" y="669"/>
                    <a:pt x="171" y="669"/>
                  </a:cubicBezTo>
                  <a:cubicBezTo>
                    <a:pt x="138" y="674"/>
                    <a:pt x="138" y="674"/>
                    <a:pt x="138" y="674"/>
                  </a:cubicBezTo>
                  <a:cubicBezTo>
                    <a:pt x="111" y="740"/>
                    <a:pt x="111" y="740"/>
                    <a:pt x="111" y="740"/>
                  </a:cubicBezTo>
                  <a:close/>
                  <a:moveTo>
                    <a:pt x="51" y="748"/>
                  </a:moveTo>
                  <a:cubicBezTo>
                    <a:pt x="84" y="744"/>
                    <a:pt x="84" y="744"/>
                    <a:pt x="84" y="744"/>
                  </a:cubicBezTo>
                  <a:cubicBezTo>
                    <a:pt x="111" y="678"/>
                    <a:pt x="111" y="678"/>
                    <a:pt x="111" y="678"/>
                  </a:cubicBezTo>
                  <a:cubicBezTo>
                    <a:pt x="78" y="682"/>
                    <a:pt x="78" y="682"/>
                    <a:pt x="78" y="682"/>
                  </a:cubicBezTo>
                  <a:cubicBezTo>
                    <a:pt x="51" y="748"/>
                    <a:pt x="51" y="748"/>
                    <a:pt x="51" y="748"/>
                  </a:cubicBezTo>
                  <a:close/>
                  <a:moveTo>
                    <a:pt x="47" y="741"/>
                  </a:moveTo>
                  <a:cubicBezTo>
                    <a:pt x="28" y="716"/>
                    <a:pt x="28" y="716"/>
                    <a:pt x="28" y="716"/>
                  </a:cubicBezTo>
                  <a:cubicBezTo>
                    <a:pt x="60" y="711"/>
                    <a:pt x="60" y="711"/>
                    <a:pt x="60" y="711"/>
                  </a:cubicBezTo>
                  <a:cubicBezTo>
                    <a:pt x="47" y="741"/>
                    <a:pt x="47" y="741"/>
                    <a:pt x="47" y="741"/>
                  </a:cubicBezTo>
                  <a:close/>
                  <a:moveTo>
                    <a:pt x="277" y="706"/>
                  </a:moveTo>
                  <a:cubicBezTo>
                    <a:pt x="351" y="696"/>
                    <a:pt x="351" y="696"/>
                    <a:pt x="351" y="696"/>
                  </a:cubicBezTo>
                  <a:cubicBezTo>
                    <a:pt x="347" y="693"/>
                    <a:pt x="343" y="689"/>
                    <a:pt x="341" y="684"/>
                  </a:cubicBezTo>
                  <a:cubicBezTo>
                    <a:pt x="328" y="659"/>
                    <a:pt x="328" y="659"/>
                    <a:pt x="328" y="659"/>
                  </a:cubicBezTo>
                  <a:cubicBezTo>
                    <a:pt x="295" y="664"/>
                    <a:pt x="295" y="664"/>
                    <a:pt x="295" y="664"/>
                  </a:cubicBezTo>
                  <a:cubicBezTo>
                    <a:pt x="277" y="706"/>
                    <a:pt x="277" y="706"/>
                    <a:pt x="277" y="706"/>
                  </a:cubicBezTo>
                  <a:close/>
                  <a:moveTo>
                    <a:pt x="460" y="249"/>
                  </a:moveTo>
                  <a:cubicBezTo>
                    <a:pt x="457" y="471"/>
                    <a:pt x="457" y="471"/>
                    <a:pt x="457" y="471"/>
                  </a:cubicBezTo>
                  <a:cubicBezTo>
                    <a:pt x="481" y="518"/>
                    <a:pt x="481" y="518"/>
                    <a:pt x="481" y="518"/>
                  </a:cubicBezTo>
                  <a:cubicBezTo>
                    <a:pt x="505" y="567"/>
                    <a:pt x="505" y="567"/>
                    <a:pt x="505" y="567"/>
                  </a:cubicBezTo>
                  <a:cubicBezTo>
                    <a:pt x="507" y="571"/>
                    <a:pt x="507" y="571"/>
                    <a:pt x="507" y="571"/>
                  </a:cubicBezTo>
                  <a:cubicBezTo>
                    <a:pt x="509" y="568"/>
                    <a:pt x="509" y="568"/>
                    <a:pt x="509" y="568"/>
                  </a:cubicBezTo>
                  <a:cubicBezTo>
                    <a:pt x="516" y="568"/>
                    <a:pt x="516" y="568"/>
                    <a:pt x="516" y="568"/>
                  </a:cubicBezTo>
                  <a:cubicBezTo>
                    <a:pt x="516" y="556"/>
                    <a:pt x="516" y="556"/>
                    <a:pt x="516" y="556"/>
                  </a:cubicBezTo>
                  <a:cubicBezTo>
                    <a:pt x="658" y="320"/>
                    <a:pt x="658" y="320"/>
                    <a:pt x="658" y="320"/>
                  </a:cubicBezTo>
                  <a:cubicBezTo>
                    <a:pt x="667" y="326"/>
                    <a:pt x="667" y="326"/>
                    <a:pt x="667" y="326"/>
                  </a:cubicBezTo>
                  <a:cubicBezTo>
                    <a:pt x="680" y="333"/>
                    <a:pt x="696" y="329"/>
                    <a:pt x="703" y="317"/>
                  </a:cubicBezTo>
                  <a:cubicBezTo>
                    <a:pt x="794" y="166"/>
                    <a:pt x="794" y="166"/>
                    <a:pt x="794" y="166"/>
                  </a:cubicBezTo>
                  <a:cubicBezTo>
                    <a:pt x="800" y="156"/>
                    <a:pt x="798" y="143"/>
                    <a:pt x="790" y="134"/>
                  </a:cubicBezTo>
                  <a:cubicBezTo>
                    <a:pt x="715" y="260"/>
                    <a:pt x="715" y="260"/>
                    <a:pt x="715" y="260"/>
                  </a:cubicBezTo>
                  <a:cubicBezTo>
                    <a:pt x="699" y="250"/>
                    <a:pt x="699" y="250"/>
                    <a:pt x="699" y="250"/>
                  </a:cubicBezTo>
                  <a:cubicBezTo>
                    <a:pt x="775" y="124"/>
                    <a:pt x="775" y="124"/>
                    <a:pt x="775" y="124"/>
                  </a:cubicBezTo>
                  <a:cubicBezTo>
                    <a:pt x="758" y="114"/>
                    <a:pt x="758" y="114"/>
                    <a:pt x="758" y="114"/>
                  </a:cubicBezTo>
                  <a:cubicBezTo>
                    <a:pt x="682" y="241"/>
                    <a:pt x="682" y="241"/>
                    <a:pt x="682" y="241"/>
                  </a:cubicBezTo>
                  <a:cubicBezTo>
                    <a:pt x="666" y="231"/>
                    <a:pt x="666" y="231"/>
                    <a:pt x="666" y="231"/>
                  </a:cubicBezTo>
                  <a:cubicBezTo>
                    <a:pt x="742" y="104"/>
                    <a:pt x="742" y="104"/>
                    <a:pt x="742" y="104"/>
                  </a:cubicBezTo>
                  <a:cubicBezTo>
                    <a:pt x="725" y="94"/>
                    <a:pt x="725" y="94"/>
                    <a:pt x="725" y="94"/>
                  </a:cubicBezTo>
                  <a:cubicBezTo>
                    <a:pt x="650" y="221"/>
                    <a:pt x="650" y="221"/>
                    <a:pt x="650" y="221"/>
                  </a:cubicBezTo>
                  <a:cubicBezTo>
                    <a:pt x="633" y="211"/>
                    <a:pt x="633" y="211"/>
                    <a:pt x="633" y="211"/>
                  </a:cubicBezTo>
                  <a:cubicBezTo>
                    <a:pt x="709" y="85"/>
                    <a:pt x="709" y="85"/>
                    <a:pt x="709" y="85"/>
                  </a:cubicBezTo>
                  <a:cubicBezTo>
                    <a:pt x="697" y="82"/>
                    <a:pt x="685" y="87"/>
                    <a:pt x="679" y="97"/>
                  </a:cubicBezTo>
                  <a:cubicBezTo>
                    <a:pt x="589" y="248"/>
                    <a:pt x="589" y="248"/>
                    <a:pt x="589" y="248"/>
                  </a:cubicBezTo>
                  <a:cubicBezTo>
                    <a:pt x="581" y="261"/>
                    <a:pt x="585" y="277"/>
                    <a:pt x="598" y="284"/>
                  </a:cubicBezTo>
                  <a:cubicBezTo>
                    <a:pt x="615" y="294"/>
                    <a:pt x="615" y="294"/>
                    <a:pt x="615" y="294"/>
                  </a:cubicBezTo>
                  <a:cubicBezTo>
                    <a:pt x="518" y="456"/>
                    <a:pt x="518" y="456"/>
                    <a:pt x="518" y="456"/>
                  </a:cubicBezTo>
                  <a:cubicBezTo>
                    <a:pt x="520" y="247"/>
                    <a:pt x="520" y="247"/>
                    <a:pt x="520" y="247"/>
                  </a:cubicBezTo>
                  <a:cubicBezTo>
                    <a:pt x="556" y="229"/>
                    <a:pt x="582" y="183"/>
                    <a:pt x="583" y="129"/>
                  </a:cubicBezTo>
                  <a:cubicBezTo>
                    <a:pt x="584" y="59"/>
                    <a:pt x="542" y="2"/>
                    <a:pt x="490" y="1"/>
                  </a:cubicBezTo>
                  <a:cubicBezTo>
                    <a:pt x="437" y="0"/>
                    <a:pt x="394" y="57"/>
                    <a:pt x="393" y="127"/>
                  </a:cubicBezTo>
                  <a:cubicBezTo>
                    <a:pt x="392" y="184"/>
                    <a:pt x="420" y="233"/>
                    <a:pt x="460" y="2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0" name="Text Placeholder 9"/>
          <p:cNvSpPr>
            <a:spLocks noGrp="1"/>
          </p:cNvSpPr>
          <p:nvPr userDrawn="1">
            <p:ph type="body" sz="quarter" idx="32"/>
          </p:nvPr>
        </p:nvSpPr>
        <p:spPr>
          <a:xfrm>
            <a:off x="8042095" y="4386040"/>
            <a:ext cx="1885426" cy="1377770"/>
          </a:xfrm>
        </p:spPr>
        <p:txBody>
          <a:bodyPr/>
          <a:lstStyle>
            <a:lvl1pPr marL="177729" indent="-177729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ü"/>
              <a:defRPr sz="1050" spc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4" name="Text Placeholder 9"/>
          <p:cNvSpPr>
            <a:spLocks noGrp="1"/>
          </p:cNvSpPr>
          <p:nvPr userDrawn="1">
            <p:ph type="body" sz="quarter" idx="33"/>
          </p:nvPr>
        </p:nvSpPr>
        <p:spPr>
          <a:xfrm>
            <a:off x="10196995" y="4386040"/>
            <a:ext cx="1885426" cy="1377770"/>
          </a:xfrm>
        </p:spPr>
        <p:txBody>
          <a:bodyPr/>
          <a:lstStyle>
            <a:lvl1pPr marL="177729" indent="-177729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ü"/>
              <a:defRPr sz="1050" spc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1" name="Text Placeholder 9"/>
          <p:cNvSpPr>
            <a:spLocks noGrp="1"/>
          </p:cNvSpPr>
          <p:nvPr userDrawn="1">
            <p:ph type="body" sz="quarter" idx="35"/>
          </p:nvPr>
        </p:nvSpPr>
        <p:spPr>
          <a:xfrm>
            <a:off x="4726403" y="923664"/>
            <a:ext cx="2941879" cy="870209"/>
          </a:xfrm>
        </p:spPr>
        <p:txBody>
          <a:bodyPr/>
          <a:lstStyle>
            <a:lvl1pPr marL="177729" indent="-177729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ü"/>
              <a:defRPr sz="1000" spc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9"/>
          <p:cNvSpPr>
            <a:spLocks noGrp="1"/>
          </p:cNvSpPr>
          <p:nvPr userDrawn="1">
            <p:ph type="body" sz="quarter" idx="36"/>
          </p:nvPr>
        </p:nvSpPr>
        <p:spPr>
          <a:xfrm>
            <a:off x="4726403" y="2185824"/>
            <a:ext cx="2941879" cy="838438"/>
          </a:xfrm>
        </p:spPr>
        <p:txBody>
          <a:bodyPr/>
          <a:lstStyle>
            <a:lvl1pPr marL="177729" marR="0" indent="-177729" algn="l" defTabSz="912657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ü"/>
              <a:tabLst/>
              <a:defRPr sz="1000" spc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2" name="Text Placeholder 9"/>
          <p:cNvSpPr>
            <a:spLocks noGrp="1"/>
          </p:cNvSpPr>
          <p:nvPr userDrawn="1">
            <p:ph type="body" sz="quarter" idx="37"/>
          </p:nvPr>
        </p:nvSpPr>
        <p:spPr>
          <a:xfrm>
            <a:off x="4728128" y="3831789"/>
            <a:ext cx="2941879" cy="1083720"/>
          </a:xfrm>
        </p:spPr>
        <p:txBody>
          <a:bodyPr/>
          <a:lstStyle>
            <a:lvl1pPr marL="177729" indent="-177729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ü"/>
              <a:defRPr sz="1000" spc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4633315" y="1821044"/>
            <a:ext cx="3040219" cy="355306"/>
            <a:chOff x="4591439" y="3361047"/>
            <a:chExt cx="3041407" cy="355224"/>
          </a:xfrm>
        </p:grpSpPr>
        <p:sp>
          <p:nvSpPr>
            <p:cNvPr id="103" name="Freeform 64"/>
            <p:cNvSpPr>
              <a:spLocks noChangeAspect="1" noEditPoints="1"/>
            </p:cNvSpPr>
            <p:nvPr userDrawn="1"/>
          </p:nvSpPr>
          <p:spPr bwMode="black">
            <a:xfrm>
              <a:off x="4654201" y="3389823"/>
              <a:ext cx="310896" cy="238768"/>
            </a:xfrm>
            <a:custGeom>
              <a:avLst/>
              <a:gdLst>
                <a:gd name="T0" fmla="*/ 12 w 221"/>
                <a:gd name="T1" fmla="*/ 104 h 170"/>
                <a:gd name="T2" fmla="*/ 6 w 221"/>
                <a:gd name="T3" fmla="*/ 103 h 170"/>
                <a:gd name="T4" fmla="*/ 2 w 221"/>
                <a:gd name="T5" fmla="*/ 108 h 170"/>
                <a:gd name="T6" fmla="*/ 10 w 221"/>
                <a:gd name="T7" fmla="*/ 141 h 170"/>
                <a:gd name="T8" fmla="*/ 16 w 221"/>
                <a:gd name="T9" fmla="*/ 143 h 170"/>
                <a:gd name="T10" fmla="*/ 21 w 221"/>
                <a:gd name="T11" fmla="*/ 139 h 170"/>
                <a:gd name="T12" fmla="*/ 12 w 221"/>
                <a:gd name="T13" fmla="*/ 104 h 170"/>
                <a:gd name="T14" fmla="*/ 185 w 221"/>
                <a:gd name="T15" fmla="*/ 8 h 170"/>
                <a:gd name="T16" fmla="*/ 219 w 221"/>
                <a:gd name="T17" fmla="*/ 136 h 170"/>
                <a:gd name="T18" fmla="*/ 209 w 221"/>
                <a:gd name="T19" fmla="*/ 139 h 170"/>
                <a:gd name="T20" fmla="*/ 175 w 221"/>
                <a:gd name="T21" fmla="*/ 10 h 170"/>
                <a:gd name="T22" fmla="*/ 185 w 221"/>
                <a:gd name="T23" fmla="*/ 8 h 170"/>
                <a:gd name="T24" fmla="*/ 104 w 221"/>
                <a:gd name="T25" fmla="*/ 170 h 170"/>
                <a:gd name="T26" fmla="*/ 85 w 221"/>
                <a:gd name="T27" fmla="*/ 170 h 170"/>
                <a:gd name="T28" fmla="*/ 63 w 221"/>
                <a:gd name="T29" fmla="*/ 143 h 170"/>
                <a:gd name="T30" fmla="*/ 73 w 221"/>
                <a:gd name="T31" fmla="*/ 143 h 170"/>
                <a:gd name="T32" fmla="*/ 85 w 221"/>
                <a:gd name="T33" fmla="*/ 157 h 170"/>
                <a:gd name="T34" fmla="*/ 104 w 221"/>
                <a:gd name="T35" fmla="*/ 157 h 170"/>
                <a:gd name="T36" fmla="*/ 116 w 221"/>
                <a:gd name="T37" fmla="*/ 143 h 170"/>
                <a:gd name="T38" fmla="*/ 128 w 221"/>
                <a:gd name="T39" fmla="*/ 143 h 170"/>
                <a:gd name="T40" fmla="*/ 104 w 221"/>
                <a:gd name="T41" fmla="*/ 170 h 170"/>
                <a:gd name="T42" fmla="*/ 18 w 221"/>
                <a:gd name="T43" fmla="*/ 102 h 170"/>
                <a:gd name="T44" fmla="*/ 168 w 221"/>
                <a:gd name="T45" fmla="*/ 16 h 170"/>
                <a:gd name="T46" fmla="*/ 172 w 221"/>
                <a:gd name="T47" fmla="*/ 30 h 170"/>
                <a:gd name="T48" fmla="*/ 20 w 221"/>
                <a:gd name="T49" fmla="*/ 109 h 170"/>
                <a:gd name="T50" fmla="*/ 18 w 221"/>
                <a:gd name="T51" fmla="*/ 102 h 170"/>
                <a:gd name="T52" fmla="*/ 185 w 221"/>
                <a:gd name="T53" fmla="*/ 79 h 170"/>
                <a:gd name="T54" fmla="*/ 201 w 221"/>
                <a:gd name="T55" fmla="*/ 137 h 170"/>
                <a:gd name="T56" fmla="*/ 28 w 221"/>
                <a:gd name="T57" fmla="*/ 138 h 170"/>
                <a:gd name="T58" fmla="*/ 24 w 221"/>
                <a:gd name="T59" fmla="*/ 122 h 170"/>
                <a:gd name="T60" fmla="*/ 185 w 221"/>
                <a:gd name="T61" fmla="*/ 7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1" h="170">
                  <a:moveTo>
                    <a:pt x="12" y="104"/>
                  </a:moveTo>
                  <a:cubicBezTo>
                    <a:pt x="6" y="103"/>
                    <a:pt x="6" y="103"/>
                    <a:pt x="6" y="103"/>
                  </a:cubicBezTo>
                  <a:cubicBezTo>
                    <a:pt x="3" y="103"/>
                    <a:pt x="0" y="104"/>
                    <a:pt x="2" y="108"/>
                  </a:cubicBezTo>
                  <a:cubicBezTo>
                    <a:pt x="10" y="141"/>
                    <a:pt x="10" y="141"/>
                    <a:pt x="10" y="141"/>
                  </a:cubicBezTo>
                  <a:cubicBezTo>
                    <a:pt x="12" y="145"/>
                    <a:pt x="14" y="144"/>
                    <a:pt x="16" y="143"/>
                  </a:cubicBezTo>
                  <a:cubicBezTo>
                    <a:pt x="21" y="139"/>
                    <a:pt x="21" y="139"/>
                    <a:pt x="21" y="139"/>
                  </a:cubicBezTo>
                  <a:cubicBezTo>
                    <a:pt x="12" y="104"/>
                    <a:pt x="12" y="104"/>
                    <a:pt x="12" y="104"/>
                  </a:cubicBezTo>
                  <a:close/>
                  <a:moveTo>
                    <a:pt x="185" y="8"/>
                  </a:moveTo>
                  <a:cubicBezTo>
                    <a:pt x="219" y="136"/>
                    <a:pt x="219" y="136"/>
                    <a:pt x="219" y="136"/>
                  </a:cubicBezTo>
                  <a:cubicBezTo>
                    <a:pt x="221" y="143"/>
                    <a:pt x="211" y="146"/>
                    <a:pt x="209" y="139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173" y="3"/>
                    <a:pt x="183" y="0"/>
                    <a:pt x="185" y="8"/>
                  </a:cubicBezTo>
                  <a:close/>
                  <a:moveTo>
                    <a:pt x="104" y="170"/>
                  </a:moveTo>
                  <a:cubicBezTo>
                    <a:pt x="85" y="170"/>
                    <a:pt x="85" y="170"/>
                    <a:pt x="85" y="170"/>
                  </a:cubicBezTo>
                  <a:cubicBezTo>
                    <a:pt x="69" y="170"/>
                    <a:pt x="62" y="156"/>
                    <a:pt x="63" y="143"/>
                  </a:cubicBezTo>
                  <a:cubicBezTo>
                    <a:pt x="73" y="143"/>
                    <a:pt x="73" y="143"/>
                    <a:pt x="73" y="143"/>
                  </a:cubicBezTo>
                  <a:cubicBezTo>
                    <a:pt x="73" y="150"/>
                    <a:pt x="77" y="157"/>
                    <a:pt x="85" y="157"/>
                  </a:cubicBezTo>
                  <a:cubicBezTo>
                    <a:pt x="104" y="157"/>
                    <a:pt x="104" y="157"/>
                    <a:pt x="104" y="157"/>
                  </a:cubicBezTo>
                  <a:cubicBezTo>
                    <a:pt x="112" y="157"/>
                    <a:pt x="116" y="150"/>
                    <a:pt x="116" y="143"/>
                  </a:cubicBezTo>
                  <a:cubicBezTo>
                    <a:pt x="128" y="143"/>
                    <a:pt x="128" y="143"/>
                    <a:pt x="128" y="143"/>
                  </a:cubicBezTo>
                  <a:cubicBezTo>
                    <a:pt x="128" y="156"/>
                    <a:pt x="120" y="170"/>
                    <a:pt x="104" y="170"/>
                  </a:cubicBezTo>
                  <a:close/>
                  <a:moveTo>
                    <a:pt x="18" y="102"/>
                  </a:moveTo>
                  <a:cubicBezTo>
                    <a:pt x="168" y="16"/>
                    <a:pt x="168" y="16"/>
                    <a:pt x="168" y="16"/>
                  </a:cubicBezTo>
                  <a:cubicBezTo>
                    <a:pt x="172" y="30"/>
                    <a:pt x="172" y="30"/>
                    <a:pt x="172" y="30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18" y="102"/>
                    <a:pt x="18" y="102"/>
                    <a:pt x="18" y="102"/>
                  </a:cubicBezTo>
                  <a:close/>
                  <a:moveTo>
                    <a:pt x="185" y="79"/>
                  </a:moveTo>
                  <a:cubicBezTo>
                    <a:pt x="201" y="137"/>
                    <a:pt x="201" y="137"/>
                    <a:pt x="201" y="137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24" y="122"/>
                    <a:pt x="24" y="122"/>
                    <a:pt x="24" y="122"/>
                  </a:cubicBezTo>
                  <a:cubicBezTo>
                    <a:pt x="185" y="79"/>
                    <a:pt x="185" y="79"/>
                    <a:pt x="185" y="7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Rectangle 79"/>
            <p:cNvSpPr/>
            <p:nvPr userDrawn="1"/>
          </p:nvSpPr>
          <p:spPr bwMode="auto">
            <a:xfrm>
              <a:off x="4591439" y="3361047"/>
              <a:ext cx="3041407" cy="35522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Messaging &amp; Communications</a:t>
              </a:r>
            </a:p>
          </p:txBody>
        </p:sp>
      </p:grpSp>
      <p:grpSp>
        <p:nvGrpSpPr>
          <p:cNvPr id="14" name="Group 13"/>
          <p:cNvGrpSpPr/>
          <p:nvPr userDrawn="1"/>
        </p:nvGrpSpPr>
        <p:grpSpPr>
          <a:xfrm>
            <a:off x="4615333" y="563742"/>
            <a:ext cx="3040219" cy="343440"/>
            <a:chOff x="4591439" y="2029118"/>
            <a:chExt cx="3041407" cy="343360"/>
          </a:xfrm>
        </p:grpSpPr>
        <p:sp>
          <p:nvSpPr>
            <p:cNvPr id="69" name="Rectangle 68"/>
            <p:cNvSpPr/>
            <p:nvPr userDrawn="1"/>
          </p:nvSpPr>
          <p:spPr bwMode="auto">
            <a:xfrm>
              <a:off x="4591439" y="2029118"/>
              <a:ext cx="3041407" cy="34336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Collaboration </a:t>
              </a:r>
            </a:p>
          </p:txBody>
        </p:sp>
        <p:sp>
          <p:nvSpPr>
            <p:cNvPr id="104" name="Freeform 73"/>
            <p:cNvSpPr>
              <a:spLocks noChangeAspect="1" noEditPoints="1"/>
            </p:cNvSpPr>
            <p:nvPr userDrawn="1"/>
          </p:nvSpPr>
          <p:spPr bwMode="black">
            <a:xfrm>
              <a:off x="4654201" y="2081457"/>
              <a:ext cx="279124" cy="260457"/>
            </a:xfrm>
            <a:custGeom>
              <a:avLst/>
              <a:gdLst>
                <a:gd name="T0" fmla="*/ 1799 w 2278"/>
                <a:gd name="T1" fmla="*/ 879 h 2201"/>
                <a:gd name="T2" fmla="*/ 1711 w 2278"/>
                <a:gd name="T3" fmla="*/ 335 h 2201"/>
                <a:gd name="T4" fmla="*/ 1363 w 2278"/>
                <a:gd name="T5" fmla="*/ 315 h 2201"/>
                <a:gd name="T6" fmla="*/ 1068 w 2278"/>
                <a:gd name="T7" fmla="*/ 0 h 2201"/>
                <a:gd name="T8" fmla="*/ 810 w 2278"/>
                <a:gd name="T9" fmla="*/ 412 h 2201"/>
                <a:gd name="T10" fmla="*/ 408 w 2278"/>
                <a:gd name="T11" fmla="*/ 325 h 2201"/>
                <a:gd name="T12" fmla="*/ 246 w 2278"/>
                <a:gd name="T13" fmla="*/ 841 h 2201"/>
                <a:gd name="T14" fmla="*/ 0 w 2278"/>
                <a:gd name="T15" fmla="*/ 1138 h 2201"/>
                <a:gd name="T16" fmla="*/ 338 w 2278"/>
                <a:gd name="T17" fmla="*/ 1396 h 2201"/>
                <a:gd name="T18" fmla="*/ 166 w 2278"/>
                <a:gd name="T19" fmla="*/ 1885 h 2201"/>
                <a:gd name="T20" fmla="*/ 769 w 2278"/>
                <a:gd name="T21" fmla="*/ 1966 h 2201"/>
                <a:gd name="T22" fmla="*/ 1053 w 2278"/>
                <a:gd name="T23" fmla="*/ 2200 h 2201"/>
                <a:gd name="T24" fmla="*/ 1081 w 2278"/>
                <a:gd name="T25" fmla="*/ 2201 h 2201"/>
                <a:gd name="T26" fmla="*/ 1184 w 2278"/>
                <a:gd name="T27" fmla="*/ 1949 h 2201"/>
                <a:gd name="T28" fmla="*/ 1666 w 2278"/>
                <a:gd name="T29" fmla="*/ 1872 h 2201"/>
                <a:gd name="T30" fmla="*/ 1874 w 2278"/>
                <a:gd name="T31" fmla="*/ 1743 h 2201"/>
                <a:gd name="T32" fmla="*/ 2060 w 2278"/>
                <a:gd name="T33" fmla="*/ 1273 h 2201"/>
                <a:gd name="T34" fmla="*/ 1940 w 2278"/>
                <a:gd name="T35" fmla="*/ 1369 h 2201"/>
                <a:gd name="T36" fmla="*/ 1385 w 2278"/>
                <a:gd name="T37" fmla="*/ 1279 h 2201"/>
                <a:gd name="T38" fmla="*/ 1837 w 2278"/>
                <a:gd name="T39" fmla="*/ 1733 h 2201"/>
                <a:gd name="T40" fmla="*/ 1302 w 2278"/>
                <a:gd name="T41" fmla="*/ 1393 h 2201"/>
                <a:gd name="T42" fmla="*/ 1433 w 2278"/>
                <a:gd name="T43" fmla="*/ 1759 h 2201"/>
                <a:gd name="T44" fmla="*/ 1193 w 2278"/>
                <a:gd name="T45" fmla="*/ 1461 h 2201"/>
                <a:gd name="T46" fmla="*/ 1156 w 2278"/>
                <a:gd name="T47" fmla="*/ 1924 h 2201"/>
                <a:gd name="T48" fmla="*/ 1053 w 2278"/>
                <a:gd name="T49" fmla="*/ 1484 h 2201"/>
                <a:gd name="T50" fmla="*/ 878 w 2278"/>
                <a:gd name="T51" fmla="*/ 1857 h 2201"/>
                <a:gd name="T52" fmla="*/ 804 w 2278"/>
                <a:gd name="T53" fmla="*/ 1753 h 2201"/>
                <a:gd name="T54" fmla="*/ 438 w 2278"/>
                <a:gd name="T55" fmla="*/ 1789 h 2201"/>
                <a:gd name="T56" fmla="*/ 369 w 2278"/>
                <a:gd name="T57" fmla="*/ 1741 h 2201"/>
                <a:gd name="T58" fmla="*/ 551 w 2278"/>
                <a:gd name="T59" fmla="*/ 1362 h 2201"/>
                <a:gd name="T60" fmla="*/ 447 w 2278"/>
                <a:gd name="T61" fmla="*/ 1287 h 2201"/>
                <a:gd name="T62" fmla="*/ 723 w 2278"/>
                <a:gd name="T63" fmla="*/ 1153 h 2201"/>
                <a:gd name="T64" fmla="*/ 253 w 2278"/>
                <a:gd name="T65" fmla="*/ 1023 h 2201"/>
                <a:gd name="T66" fmla="*/ 745 w 2278"/>
                <a:gd name="T67" fmla="*/ 1014 h 2201"/>
                <a:gd name="T68" fmla="*/ 386 w 2278"/>
                <a:gd name="T69" fmla="*/ 736 h 2201"/>
                <a:gd name="T70" fmla="*/ 813 w 2278"/>
                <a:gd name="T71" fmla="*/ 904 h 2201"/>
                <a:gd name="T72" fmla="*/ 701 w 2278"/>
                <a:gd name="T73" fmla="*/ 530 h 2201"/>
                <a:gd name="T74" fmla="*/ 944 w 2278"/>
                <a:gd name="T75" fmla="*/ 815 h 2201"/>
                <a:gd name="T76" fmla="*/ 996 w 2278"/>
                <a:gd name="T77" fmla="*/ 287 h 2201"/>
                <a:gd name="T78" fmla="*/ 1083 w 2278"/>
                <a:gd name="T79" fmla="*/ 792 h 2201"/>
                <a:gd name="T80" fmla="*/ 1253 w 2278"/>
                <a:gd name="T81" fmla="*/ 424 h 2201"/>
                <a:gd name="T82" fmla="*/ 1331 w 2278"/>
                <a:gd name="T83" fmla="*/ 529 h 2201"/>
                <a:gd name="T84" fmla="*/ 1558 w 2278"/>
                <a:gd name="T85" fmla="*/ 488 h 2201"/>
                <a:gd name="T86" fmla="*/ 1618 w 2278"/>
                <a:gd name="T87" fmla="*/ 610 h 2201"/>
                <a:gd name="T88" fmla="*/ 1586 w 2278"/>
                <a:gd name="T89" fmla="*/ 914 h 2201"/>
                <a:gd name="T90" fmla="*/ 1690 w 2278"/>
                <a:gd name="T91" fmla="*/ 989 h 2201"/>
                <a:gd name="T92" fmla="*/ 1414 w 2278"/>
                <a:gd name="T93" fmla="*/ 1123 h 2201"/>
                <a:gd name="T94" fmla="*/ 2028 w 2278"/>
                <a:gd name="T95" fmla="*/ 1253 h 2201"/>
                <a:gd name="T96" fmla="*/ 1292 w 2278"/>
                <a:gd name="T97" fmla="*/ 936 h 2201"/>
                <a:gd name="T98" fmla="*/ 1083 w 2278"/>
                <a:gd name="T99" fmla="*/ 837 h 2201"/>
                <a:gd name="T100" fmla="*/ 945 w 2278"/>
                <a:gd name="T101" fmla="*/ 863 h 2201"/>
                <a:gd name="T102" fmla="*/ 787 w 2278"/>
                <a:gd name="T103" fmla="*/ 1031 h 2201"/>
                <a:gd name="T104" fmla="*/ 787 w 2278"/>
                <a:gd name="T105" fmla="*/ 1245 h 2201"/>
                <a:gd name="T106" fmla="*/ 945 w 2278"/>
                <a:gd name="T107" fmla="*/ 1412 h 2201"/>
                <a:gd name="T108" fmla="*/ 1083 w 2278"/>
                <a:gd name="T109" fmla="*/ 1439 h 2201"/>
                <a:gd name="T110" fmla="*/ 1292 w 2278"/>
                <a:gd name="T111" fmla="*/ 1340 h 2201"/>
                <a:gd name="T112" fmla="*/ 1370 w 2278"/>
                <a:gd name="T113" fmla="*/ 1138 h 2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78" h="2201">
                  <a:moveTo>
                    <a:pt x="2125" y="983"/>
                  </a:moveTo>
                  <a:cubicBezTo>
                    <a:pt x="2074" y="983"/>
                    <a:pt x="2030" y="1007"/>
                    <a:pt x="2002" y="1045"/>
                  </a:cubicBezTo>
                  <a:cubicBezTo>
                    <a:pt x="1787" y="929"/>
                    <a:pt x="1787" y="929"/>
                    <a:pt x="1787" y="929"/>
                  </a:cubicBezTo>
                  <a:cubicBezTo>
                    <a:pt x="1795" y="914"/>
                    <a:pt x="1799" y="897"/>
                    <a:pt x="1799" y="879"/>
                  </a:cubicBezTo>
                  <a:cubicBezTo>
                    <a:pt x="1799" y="828"/>
                    <a:pt x="1764" y="785"/>
                    <a:pt x="1715" y="773"/>
                  </a:cubicBezTo>
                  <a:cubicBezTo>
                    <a:pt x="1729" y="640"/>
                    <a:pt x="1729" y="640"/>
                    <a:pt x="1729" y="640"/>
                  </a:cubicBezTo>
                  <a:cubicBezTo>
                    <a:pt x="1805" y="630"/>
                    <a:pt x="1863" y="566"/>
                    <a:pt x="1863" y="488"/>
                  </a:cubicBezTo>
                  <a:cubicBezTo>
                    <a:pt x="1863" y="404"/>
                    <a:pt x="1795" y="335"/>
                    <a:pt x="1711" y="335"/>
                  </a:cubicBezTo>
                  <a:cubicBezTo>
                    <a:pt x="1645" y="335"/>
                    <a:pt x="1589" y="377"/>
                    <a:pt x="1567" y="435"/>
                  </a:cubicBezTo>
                  <a:cubicBezTo>
                    <a:pt x="1472" y="427"/>
                    <a:pt x="1472" y="427"/>
                    <a:pt x="1472" y="427"/>
                  </a:cubicBezTo>
                  <a:cubicBezTo>
                    <a:pt x="1472" y="426"/>
                    <a:pt x="1472" y="425"/>
                    <a:pt x="1472" y="424"/>
                  </a:cubicBezTo>
                  <a:cubicBezTo>
                    <a:pt x="1472" y="364"/>
                    <a:pt x="1423" y="315"/>
                    <a:pt x="1363" y="315"/>
                  </a:cubicBezTo>
                  <a:cubicBezTo>
                    <a:pt x="1334" y="315"/>
                    <a:pt x="1309" y="326"/>
                    <a:pt x="1289" y="343"/>
                  </a:cubicBezTo>
                  <a:cubicBezTo>
                    <a:pt x="1187" y="250"/>
                    <a:pt x="1187" y="250"/>
                    <a:pt x="1187" y="250"/>
                  </a:cubicBezTo>
                  <a:cubicBezTo>
                    <a:pt x="1208" y="223"/>
                    <a:pt x="1221" y="190"/>
                    <a:pt x="1221" y="153"/>
                  </a:cubicBezTo>
                  <a:cubicBezTo>
                    <a:pt x="1221" y="69"/>
                    <a:pt x="1153" y="0"/>
                    <a:pt x="1068" y="0"/>
                  </a:cubicBezTo>
                  <a:cubicBezTo>
                    <a:pt x="984" y="0"/>
                    <a:pt x="916" y="69"/>
                    <a:pt x="916" y="153"/>
                  </a:cubicBezTo>
                  <a:cubicBezTo>
                    <a:pt x="916" y="197"/>
                    <a:pt x="935" y="237"/>
                    <a:pt x="965" y="265"/>
                  </a:cubicBezTo>
                  <a:cubicBezTo>
                    <a:pt x="856" y="422"/>
                    <a:pt x="856" y="422"/>
                    <a:pt x="856" y="422"/>
                  </a:cubicBezTo>
                  <a:cubicBezTo>
                    <a:pt x="842" y="416"/>
                    <a:pt x="827" y="412"/>
                    <a:pt x="810" y="412"/>
                  </a:cubicBezTo>
                  <a:cubicBezTo>
                    <a:pt x="760" y="412"/>
                    <a:pt x="717" y="446"/>
                    <a:pt x="705" y="493"/>
                  </a:cubicBezTo>
                  <a:cubicBezTo>
                    <a:pt x="561" y="480"/>
                    <a:pt x="561" y="480"/>
                    <a:pt x="561" y="480"/>
                  </a:cubicBezTo>
                  <a:cubicBezTo>
                    <a:pt x="561" y="480"/>
                    <a:pt x="561" y="479"/>
                    <a:pt x="561" y="478"/>
                  </a:cubicBezTo>
                  <a:cubicBezTo>
                    <a:pt x="561" y="394"/>
                    <a:pt x="493" y="325"/>
                    <a:pt x="408" y="325"/>
                  </a:cubicBezTo>
                  <a:cubicBezTo>
                    <a:pt x="324" y="325"/>
                    <a:pt x="256" y="394"/>
                    <a:pt x="256" y="478"/>
                  </a:cubicBezTo>
                  <a:cubicBezTo>
                    <a:pt x="256" y="546"/>
                    <a:pt x="300" y="603"/>
                    <a:pt x="362" y="623"/>
                  </a:cubicBezTo>
                  <a:cubicBezTo>
                    <a:pt x="348" y="732"/>
                    <a:pt x="348" y="732"/>
                    <a:pt x="348" y="732"/>
                  </a:cubicBezTo>
                  <a:cubicBezTo>
                    <a:pt x="291" y="736"/>
                    <a:pt x="246" y="783"/>
                    <a:pt x="246" y="841"/>
                  </a:cubicBezTo>
                  <a:cubicBezTo>
                    <a:pt x="246" y="873"/>
                    <a:pt x="259" y="901"/>
                    <a:pt x="281" y="921"/>
                  </a:cubicBezTo>
                  <a:cubicBezTo>
                    <a:pt x="221" y="1002"/>
                    <a:pt x="221" y="1002"/>
                    <a:pt x="221" y="1002"/>
                  </a:cubicBezTo>
                  <a:cubicBezTo>
                    <a:pt x="201" y="991"/>
                    <a:pt x="177" y="985"/>
                    <a:pt x="153" y="985"/>
                  </a:cubicBezTo>
                  <a:cubicBezTo>
                    <a:pt x="68" y="985"/>
                    <a:pt x="0" y="1054"/>
                    <a:pt x="0" y="1138"/>
                  </a:cubicBezTo>
                  <a:cubicBezTo>
                    <a:pt x="0" y="1222"/>
                    <a:pt x="68" y="1291"/>
                    <a:pt x="153" y="1291"/>
                  </a:cubicBezTo>
                  <a:cubicBezTo>
                    <a:pt x="190" y="1291"/>
                    <a:pt x="225" y="1277"/>
                    <a:pt x="251" y="1254"/>
                  </a:cubicBezTo>
                  <a:cubicBezTo>
                    <a:pt x="354" y="1339"/>
                    <a:pt x="354" y="1339"/>
                    <a:pt x="354" y="1339"/>
                  </a:cubicBezTo>
                  <a:cubicBezTo>
                    <a:pt x="344" y="1356"/>
                    <a:pt x="338" y="1375"/>
                    <a:pt x="338" y="1396"/>
                  </a:cubicBezTo>
                  <a:cubicBezTo>
                    <a:pt x="338" y="1436"/>
                    <a:pt x="359" y="1471"/>
                    <a:pt x="392" y="1490"/>
                  </a:cubicBezTo>
                  <a:cubicBezTo>
                    <a:pt x="332" y="1733"/>
                    <a:pt x="332" y="1733"/>
                    <a:pt x="332" y="1733"/>
                  </a:cubicBezTo>
                  <a:cubicBezTo>
                    <a:pt x="328" y="1732"/>
                    <a:pt x="323" y="1732"/>
                    <a:pt x="319" y="1732"/>
                  </a:cubicBezTo>
                  <a:cubicBezTo>
                    <a:pt x="235" y="1732"/>
                    <a:pt x="166" y="1800"/>
                    <a:pt x="166" y="1885"/>
                  </a:cubicBezTo>
                  <a:cubicBezTo>
                    <a:pt x="166" y="1969"/>
                    <a:pt x="235" y="2038"/>
                    <a:pt x="319" y="2038"/>
                  </a:cubicBezTo>
                  <a:cubicBezTo>
                    <a:pt x="399" y="2038"/>
                    <a:pt x="464" y="1977"/>
                    <a:pt x="471" y="1899"/>
                  </a:cubicBezTo>
                  <a:cubicBezTo>
                    <a:pt x="664" y="1884"/>
                    <a:pt x="664" y="1884"/>
                    <a:pt x="664" y="1884"/>
                  </a:cubicBezTo>
                  <a:cubicBezTo>
                    <a:pt x="676" y="1931"/>
                    <a:pt x="718" y="1966"/>
                    <a:pt x="769" y="1966"/>
                  </a:cubicBezTo>
                  <a:cubicBezTo>
                    <a:pt x="802" y="1966"/>
                    <a:pt x="832" y="1951"/>
                    <a:pt x="852" y="1928"/>
                  </a:cubicBezTo>
                  <a:cubicBezTo>
                    <a:pt x="931" y="1982"/>
                    <a:pt x="931" y="1982"/>
                    <a:pt x="931" y="1982"/>
                  </a:cubicBezTo>
                  <a:cubicBezTo>
                    <a:pt x="921" y="2002"/>
                    <a:pt x="916" y="2024"/>
                    <a:pt x="916" y="2049"/>
                  </a:cubicBezTo>
                  <a:cubicBezTo>
                    <a:pt x="916" y="2128"/>
                    <a:pt x="976" y="2193"/>
                    <a:pt x="1053" y="2200"/>
                  </a:cubicBezTo>
                  <a:cubicBezTo>
                    <a:pt x="1053" y="2201"/>
                    <a:pt x="1053" y="2201"/>
                    <a:pt x="1053" y="2201"/>
                  </a:cubicBezTo>
                  <a:cubicBezTo>
                    <a:pt x="1056" y="2201"/>
                    <a:pt x="1056" y="2201"/>
                    <a:pt x="1056" y="2201"/>
                  </a:cubicBezTo>
                  <a:cubicBezTo>
                    <a:pt x="1060" y="2201"/>
                    <a:pt x="1064" y="2201"/>
                    <a:pt x="1068" y="2201"/>
                  </a:cubicBezTo>
                  <a:cubicBezTo>
                    <a:pt x="1073" y="2201"/>
                    <a:pt x="1077" y="2201"/>
                    <a:pt x="1081" y="2201"/>
                  </a:cubicBezTo>
                  <a:cubicBezTo>
                    <a:pt x="1083" y="2201"/>
                    <a:pt x="1083" y="2201"/>
                    <a:pt x="1083" y="2201"/>
                  </a:cubicBezTo>
                  <a:cubicBezTo>
                    <a:pt x="1083" y="2201"/>
                    <a:pt x="1083" y="2201"/>
                    <a:pt x="1083" y="2201"/>
                  </a:cubicBezTo>
                  <a:cubicBezTo>
                    <a:pt x="1161" y="2193"/>
                    <a:pt x="1221" y="2128"/>
                    <a:pt x="1221" y="2049"/>
                  </a:cubicBezTo>
                  <a:cubicBezTo>
                    <a:pt x="1221" y="2011"/>
                    <a:pt x="1207" y="1976"/>
                    <a:pt x="1184" y="1949"/>
                  </a:cubicBezTo>
                  <a:cubicBezTo>
                    <a:pt x="1268" y="1853"/>
                    <a:pt x="1268" y="1853"/>
                    <a:pt x="1268" y="1853"/>
                  </a:cubicBezTo>
                  <a:cubicBezTo>
                    <a:pt x="1285" y="1863"/>
                    <a:pt x="1304" y="1869"/>
                    <a:pt x="1324" y="1869"/>
                  </a:cubicBezTo>
                  <a:cubicBezTo>
                    <a:pt x="1364" y="1869"/>
                    <a:pt x="1399" y="1847"/>
                    <a:pt x="1418" y="1815"/>
                  </a:cubicBezTo>
                  <a:cubicBezTo>
                    <a:pt x="1666" y="1872"/>
                    <a:pt x="1666" y="1872"/>
                    <a:pt x="1666" y="1872"/>
                  </a:cubicBezTo>
                  <a:cubicBezTo>
                    <a:pt x="1665" y="1876"/>
                    <a:pt x="1665" y="1880"/>
                    <a:pt x="1665" y="1885"/>
                  </a:cubicBezTo>
                  <a:cubicBezTo>
                    <a:pt x="1665" y="1969"/>
                    <a:pt x="1734" y="2038"/>
                    <a:pt x="1818" y="2038"/>
                  </a:cubicBezTo>
                  <a:cubicBezTo>
                    <a:pt x="1902" y="2038"/>
                    <a:pt x="1971" y="1969"/>
                    <a:pt x="1971" y="1885"/>
                  </a:cubicBezTo>
                  <a:cubicBezTo>
                    <a:pt x="1971" y="1820"/>
                    <a:pt x="1931" y="1765"/>
                    <a:pt x="1874" y="1743"/>
                  </a:cubicBezTo>
                  <a:cubicBezTo>
                    <a:pt x="1893" y="1572"/>
                    <a:pt x="1893" y="1572"/>
                    <a:pt x="1893" y="1572"/>
                  </a:cubicBezTo>
                  <a:cubicBezTo>
                    <a:pt x="1949" y="1567"/>
                    <a:pt x="1994" y="1520"/>
                    <a:pt x="1994" y="1463"/>
                  </a:cubicBezTo>
                  <a:cubicBezTo>
                    <a:pt x="1994" y="1436"/>
                    <a:pt x="1984" y="1412"/>
                    <a:pt x="1969" y="1393"/>
                  </a:cubicBezTo>
                  <a:cubicBezTo>
                    <a:pt x="2060" y="1273"/>
                    <a:pt x="2060" y="1273"/>
                    <a:pt x="2060" y="1273"/>
                  </a:cubicBezTo>
                  <a:cubicBezTo>
                    <a:pt x="2080" y="1283"/>
                    <a:pt x="2102" y="1288"/>
                    <a:pt x="2125" y="1288"/>
                  </a:cubicBezTo>
                  <a:cubicBezTo>
                    <a:pt x="2209" y="1288"/>
                    <a:pt x="2278" y="1220"/>
                    <a:pt x="2278" y="1135"/>
                  </a:cubicBezTo>
                  <a:cubicBezTo>
                    <a:pt x="2278" y="1051"/>
                    <a:pt x="2209" y="983"/>
                    <a:pt x="2125" y="983"/>
                  </a:cubicBezTo>
                  <a:close/>
                  <a:moveTo>
                    <a:pt x="1940" y="1369"/>
                  </a:moveTo>
                  <a:cubicBezTo>
                    <a:pt x="1924" y="1359"/>
                    <a:pt x="1905" y="1353"/>
                    <a:pt x="1884" y="1353"/>
                  </a:cubicBezTo>
                  <a:cubicBezTo>
                    <a:pt x="1838" y="1353"/>
                    <a:pt x="1798" y="1383"/>
                    <a:pt x="1782" y="1424"/>
                  </a:cubicBezTo>
                  <a:cubicBezTo>
                    <a:pt x="1392" y="1262"/>
                    <a:pt x="1392" y="1262"/>
                    <a:pt x="1392" y="1262"/>
                  </a:cubicBezTo>
                  <a:cubicBezTo>
                    <a:pt x="1390" y="1268"/>
                    <a:pt x="1387" y="1273"/>
                    <a:pt x="1385" y="1279"/>
                  </a:cubicBezTo>
                  <a:cubicBezTo>
                    <a:pt x="1777" y="1441"/>
                    <a:pt x="1777" y="1441"/>
                    <a:pt x="1777" y="1441"/>
                  </a:cubicBezTo>
                  <a:cubicBezTo>
                    <a:pt x="1776" y="1448"/>
                    <a:pt x="1775" y="1455"/>
                    <a:pt x="1775" y="1463"/>
                  </a:cubicBezTo>
                  <a:cubicBezTo>
                    <a:pt x="1775" y="1513"/>
                    <a:pt x="1809" y="1555"/>
                    <a:pt x="1855" y="1568"/>
                  </a:cubicBezTo>
                  <a:cubicBezTo>
                    <a:pt x="1837" y="1733"/>
                    <a:pt x="1837" y="1733"/>
                    <a:pt x="1837" y="1733"/>
                  </a:cubicBezTo>
                  <a:cubicBezTo>
                    <a:pt x="1831" y="1733"/>
                    <a:pt x="1825" y="1732"/>
                    <a:pt x="1818" y="1732"/>
                  </a:cubicBezTo>
                  <a:cubicBezTo>
                    <a:pt x="1781" y="1732"/>
                    <a:pt x="1746" y="1746"/>
                    <a:pt x="1720" y="1768"/>
                  </a:cubicBezTo>
                  <a:cubicBezTo>
                    <a:pt x="1324" y="1372"/>
                    <a:pt x="1324" y="1372"/>
                    <a:pt x="1324" y="1372"/>
                  </a:cubicBezTo>
                  <a:cubicBezTo>
                    <a:pt x="1317" y="1379"/>
                    <a:pt x="1310" y="1386"/>
                    <a:pt x="1302" y="1393"/>
                  </a:cubicBezTo>
                  <a:cubicBezTo>
                    <a:pt x="1699" y="1789"/>
                    <a:pt x="1699" y="1789"/>
                    <a:pt x="1699" y="1789"/>
                  </a:cubicBezTo>
                  <a:cubicBezTo>
                    <a:pt x="1688" y="1803"/>
                    <a:pt x="1679" y="1818"/>
                    <a:pt x="1674" y="1835"/>
                  </a:cubicBezTo>
                  <a:cubicBezTo>
                    <a:pt x="1432" y="1779"/>
                    <a:pt x="1432" y="1779"/>
                    <a:pt x="1432" y="1779"/>
                  </a:cubicBezTo>
                  <a:cubicBezTo>
                    <a:pt x="1433" y="1773"/>
                    <a:pt x="1433" y="1766"/>
                    <a:pt x="1433" y="1759"/>
                  </a:cubicBezTo>
                  <a:cubicBezTo>
                    <a:pt x="1433" y="1699"/>
                    <a:pt x="1385" y="1650"/>
                    <a:pt x="1324" y="1650"/>
                  </a:cubicBezTo>
                  <a:cubicBezTo>
                    <a:pt x="1313" y="1650"/>
                    <a:pt x="1302" y="1652"/>
                    <a:pt x="1292" y="1655"/>
                  </a:cubicBezTo>
                  <a:cubicBezTo>
                    <a:pt x="1209" y="1454"/>
                    <a:pt x="1209" y="1454"/>
                    <a:pt x="1209" y="1454"/>
                  </a:cubicBezTo>
                  <a:cubicBezTo>
                    <a:pt x="1204" y="1457"/>
                    <a:pt x="1198" y="1459"/>
                    <a:pt x="1193" y="1461"/>
                  </a:cubicBezTo>
                  <a:cubicBezTo>
                    <a:pt x="1276" y="1662"/>
                    <a:pt x="1276" y="1662"/>
                    <a:pt x="1276" y="1662"/>
                  </a:cubicBezTo>
                  <a:cubicBezTo>
                    <a:pt x="1240" y="1680"/>
                    <a:pt x="1215" y="1717"/>
                    <a:pt x="1215" y="1759"/>
                  </a:cubicBezTo>
                  <a:cubicBezTo>
                    <a:pt x="1215" y="1786"/>
                    <a:pt x="1224" y="1810"/>
                    <a:pt x="1240" y="1828"/>
                  </a:cubicBezTo>
                  <a:cubicBezTo>
                    <a:pt x="1156" y="1924"/>
                    <a:pt x="1156" y="1924"/>
                    <a:pt x="1156" y="1924"/>
                  </a:cubicBezTo>
                  <a:cubicBezTo>
                    <a:pt x="1135" y="1909"/>
                    <a:pt x="1110" y="1899"/>
                    <a:pt x="1083" y="1897"/>
                  </a:cubicBezTo>
                  <a:cubicBezTo>
                    <a:pt x="1083" y="1484"/>
                    <a:pt x="1083" y="1484"/>
                    <a:pt x="1083" y="1484"/>
                  </a:cubicBezTo>
                  <a:cubicBezTo>
                    <a:pt x="1078" y="1484"/>
                    <a:pt x="1073" y="1484"/>
                    <a:pt x="1068" y="1484"/>
                  </a:cubicBezTo>
                  <a:cubicBezTo>
                    <a:pt x="1063" y="1484"/>
                    <a:pt x="1058" y="1484"/>
                    <a:pt x="1053" y="1484"/>
                  </a:cubicBezTo>
                  <a:cubicBezTo>
                    <a:pt x="1053" y="1897"/>
                    <a:pt x="1053" y="1897"/>
                    <a:pt x="1053" y="1897"/>
                  </a:cubicBezTo>
                  <a:cubicBezTo>
                    <a:pt x="1013" y="1901"/>
                    <a:pt x="977" y="1920"/>
                    <a:pt x="952" y="1950"/>
                  </a:cubicBezTo>
                  <a:cubicBezTo>
                    <a:pt x="871" y="1895"/>
                    <a:pt x="871" y="1895"/>
                    <a:pt x="871" y="1895"/>
                  </a:cubicBezTo>
                  <a:cubicBezTo>
                    <a:pt x="876" y="1883"/>
                    <a:pt x="878" y="1870"/>
                    <a:pt x="878" y="1857"/>
                  </a:cubicBezTo>
                  <a:cubicBezTo>
                    <a:pt x="878" y="1815"/>
                    <a:pt x="855" y="1779"/>
                    <a:pt x="820" y="1760"/>
                  </a:cubicBezTo>
                  <a:cubicBezTo>
                    <a:pt x="944" y="1461"/>
                    <a:pt x="944" y="1461"/>
                    <a:pt x="944" y="1461"/>
                  </a:cubicBezTo>
                  <a:cubicBezTo>
                    <a:pt x="939" y="1459"/>
                    <a:pt x="933" y="1457"/>
                    <a:pt x="928" y="1454"/>
                  </a:cubicBezTo>
                  <a:cubicBezTo>
                    <a:pt x="804" y="1753"/>
                    <a:pt x="804" y="1753"/>
                    <a:pt x="804" y="1753"/>
                  </a:cubicBezTo>
                  <a:cubicBezTo>
                    <a:pt x="793" y="1749"/>
                    <a:pt x="781" y="1747"/>
                    <a:pt x="769" y="1747"/>
                  </a:cubicBezTo>
                  <a:cubicBezTo>
                    <a:pt x="712" y="1747"/>
                    <a:pt x="666" y="1791"/>
                    <a:pt x="660" y="1846"/>
                  </a:cubicBezTo>
                  <a:cubicBezTo>
                    <a:pt x="470" y="1861"/>
                    <a:pt x="470" y="1861"/>
                    <a:pt x="470" y="1861"/>
                  </a:cubicBezTo>
                  <a:cubicBezTo>
                    <a:pt x="466" y="1834"/>
                    <a:pt x="454" y="1810"/>
                    <a:pt x="438" y="1789"/>
                  </a:cubicBezTo>
                  <a:cubicBezTo>
                    <a:pt x="835" y="1393"/>
                    <a:pt x="835" y="1393"/>
                    <a:pt x="835" y="1393"/>
                  </a:cubicBezTo>
                  <a:cubicBezTo>
                    <a:pt x="827" y="1386"/>
                    <a:pt x="820" y="1379"/>
                    <a:pt x="813" y="1372"/>
                  </a:cubicBezTo>
                  <a:cubicBezTo>
                    <a:pt x="417" y="1768"/>
                    <a:pt x="417" y="1768"/>
                    <a:pt x="417" y="1768"/>
                  </a:cubicBezTo>
                  <a:cubicBezTo>
                    <a:pt x="403" y="1756"/>
                    <a:pt x="387" y="1747"/>
                    <a:pt x="369" y="1741"/>
                  </a:cubicBezTo>
                  <a:cubicBezTo>
                    <a:pt x="428" y="1504"/>
                    <a:pt x="428" y="1504"/>
                    <a:pt x="428" y="1504"/>
                  </a:cubicBezTo>
                  <a:cubicBezTo>
                    <a:pt x="434" y="1505"/>
                    <a:pt x="440" y="1505"/>
                    <a:pt x="447" y="1505"/>
                  </a:cubicBezTo>
                  <a:cubicBezTo>
                    <a:pt x="507" y="1505"/>
                    <a:pt x="556" y="1457"/>
                    <a:pt x="556" y="1396"/>
                  </a:cubicBezTo>
                  <a:cubicBezTo>
                    <a:pt x="556" y="1384"/>
                    <a:pt x="554" y="1373"/>
                    <a:pt x="551" y="1362"/>
                  </a:cubicBezTo>
                  <a:cubicBezTo>
                    <a:pt x="752" y="1279"/>
                    <a:pt x="752" y="1279"/>
                    <a:pt x="752" y="1279"/>
                  </a:cubicBezTo>
                  <a:cubicBezTo>
                    <a:pt x="750" y="1273"/>
                    <a:pt x="747" y="1268"/>
                    <a:pt x="745" y="1262"/>
                  </a:cubicBezTo>
                  <a:cubicBezTo>
                    <a:pt x="544" y="1345"/>
                    <a:pt x="544" y="1345"/>
                    <a:pt x="544" y="1345"/>
                  </a:cubicBezTo>
                  <a:cubicBezTo>
                    <a:pt x="525" y="1311"/>
                    <a:pt x="489" y="1287"/>
                    <a:pt x="447" y="1287"/>
                  </a:cubicBezTo>
                  <a:cubicBezTo>
                    <a:pt x="421" y="1287"/>
                    <a:pt x="397" y="1296"/>
                    <a:pt x="379" y="1311"/>
                  </a:cubicBezTo>
                  <a:cubicBezTo>
                    <a:pt x="277" y="1226"/>
                    <a:pt x="277" y="1226"/>
                    <a:pt x="277" y="1226"/>
                  </a:cubicBezTo>
                  <a:cubicBezTo>
                    <a:pt x="292" y="1205"/>
                    <a:pt x="302" y="1180"/>
                    <a:pt x="305" y="1153"/>
                  </a:cubicBezTo>
                  <a:cubicBezTo>
                    <a:pt x="723" y="1153"/>
                    <a:pt x="723" y="1153"/>
                    <a:pt x="723" y="1153"/>
                  </a:cubicBezTo>
                  <a:cubicBezTo>
                    <a:pt x="722" y="1148"/>
                    <a:pt x="722" y="1143"/>
                    <a:pt x="722" y="1138"/>
                  </a:cubicBezTo>
                  <a:cubicBezTo>
                    <a:pt x="722" y="1133"/>
                    <a:pt x="722" y="1128"/>
                    <a:pt x="723" y="1123"/>
                  </a:cubicBezTo>
                  <a:cubicBezTo>
                    <a:pt x="305" y="1123"/>
                    <a:pt x="305" y="1123"/>
                    <a:pt x="305" y="1123"/>
                  </a:cubicBezTo>
                  <a:cubicBezTo>
                    <a:pt x="301" y="1083"/>
                    <a:pt x="281" y="1048"/>
                    <a:pt x="253" y="1023"/>
                  </a:cubicBezTo>
                  <a:cubicBezTo>
                    <a:pt x="312" y="942"/>
                    <a:pt x="312" y="942"/>
                    <a:pt x="312" y="942"/>
                  </a:cubicBezTo>
                  <a:cubicBezTo>
                    <a:pt x="325" y="947"/>
                    <a:pt x="340" y="950"/>
                    <a:pt x="355" y="950"/>
                  </a:cubicBezTo>
                  <a:cubicBezTo>
                    <a:pt x="397" y="950"/>
                    <a:pt x="433" y="927"/>
                    <a:pt x="451" y="892"/>
                  </a:cubicBezTo>
                  <a:cubicBezTo>
                    <a:pt x="745" y="1014"/>
                    <a:pt x="745" y="1014"/>
                    <a:pt x="745" y="1014"/>
                  </a:cubicBezTo>
                  <a:cubicBezTo>
                    <a:pt x="747" y="1008"/>
                    <a:pt x="750" y="1003"/>
                    <a:pt x="752" y="997"/>
                  </a:cubicBezTo>
                  <a:cubicBezTo>
                    <a:pt x="458" y="875"/>
                    <a:pt x="458" y="875"/>
                    <a:pt x="458" y="875"/>
                  </a:cubicBezTo>
                  <a:cubicBezTo>
                    <a:pt x="462" y="865"/>
                    <a:pt x="464" y="853"/>
                    <a:pt x="464" y="841"/>
                  </a:cubicBezTo>
                  <a:cubicBezTo>
                    <a:pt x="464" y="792"/>
                    <a:pt x="431" y="750"/>
                    <a:pt x="386" y="736"/>
                  </a:cubicBezTo>
                  <a:cubicBezTo>
                    <a:pt x="399" y="630"/>
                    <a:pt x="399" y="630"/>
                    <a:pt x="399" y="630"/>
                  </a:cubicBezTo>
                  <a:cubicBezTo>
                    <a:pt x="402" y="630"/>
                    <a:pt x="405" y="631"/>
                    <a:pt x="408" y="631"/>
                  </a:cubicBezTo>
                  <a:cubicBezTo>
                    <a:pt x="445" y="631"/>
                    <a:pt x="479" y="618"/>
                    <a:pt x="505" y="596"/>
                  </a:cubicBezTo>
                  <a:cubicBezTo>
                    <a:pt x="813" y="904"/>
                    <a:pt x="813" y="904"/>
                    <a:pt x="813" y="904"/>
                  </a:cubicBezTo>
                  <a:cubicBezTo>
                    <a:pt x="820" y="897"/>
                    <a:pt x="827" y="889"/>
                    <a:pt x="835" y="883"/>
                  </a:cubicBezTo>
                  <a:cubicBezTo>
                    <a:pt x="527" y="575"/>
                    <a:pt x="527" y="575"/>
                    <a:pt x="527" y="575"/>
                  </a:cubicBezTo>
                  <a:cubicBezTo>
                    <a:pt x="540" y="558"/>
                    <a:pt x="550" y="539"/>
                    <a:pt x="556" y="518"/>
                  </a:cubicBezTo>
                  <a:cubicBezTo>
                    <a:pt x="701" y="530"/>
                    <a:pt x="701" y="530"/>
                    <a:pt x="701" y="530"/>
                  </a:cubicBezTo>
                  <a:cubicBezTo>
                    <a:pt x="706" y="587"/>
                    <a:pt x="753" y="631"/>
                    <a:pt x="810" y="631"/>
                  </a:cubicBezTo>
                  <a:cubicBezTo>
                    <a:pt x="823" y="631"/>
                    <a:pt x="835" y="628"/>
                    <a:pt x="846" y="624"/>
                  </a:cubicBezTo>
                  <a:cubicBezTo>
                    <a:pt x="928" y="822"/>
                    <a:pt x="928" y="822"/>
                    <a:pt x="928" y="822"/>
                  </a:cubicBezTo>
                  <a:cubicBezTo>
                    <a:pt x="933" y="819"/>
                    <a:pt x="939" y="817"/>
                    <a:pt x="944" y="815"/>
                  </a:cubicBezTo>
                  <a:cubicBezTo>
                    <a:pt x="863" y="617"/>
                    <a:pt x="863" y="617"/>
                    <a:pt x="863" y="617"/>
                  </a:cubicBezTo>
                  <a:cubicBezTo>
                    <a:pt x="896" y="599"/>
                    <a:pt x="919" y="563"/>
                    <a:pt x="919" y="521"/>
                  </a:cubicBezTo>
                  <a:cubicBezTo>
                    <a:pt x="919" y="491"/>
                    <a:pt x="907" y="464"/>
                    <a:pt x="887" y="444"/>
                  </a:cubicBezTo>
                  <a:cubicBezTo>
                    <a:pt x="996" y="287"/>
                    <a:pt x="996" y="287"/>
                    <a:pt x="996" y="287"/>
                  </a:cubicBezTo>
                  <a:cubicBezTo>
                    <a:pt x="1013" y="297"/>
                    <a:pt x="1033" y="303"/>
                    <a:pt x="1053" y="305"/>
                  </a:cubicBezTo>
                  <a:cubicBezTo>
                    <a:pt x="1053" y="792"/>
                    <a:pt x="1053" y="792"/>
                    <a:pt x="1053" y="792"/>
                  </a:cubicBezTo>
                  <a:cubicBezTo>
                    <a:pt x="1058" y="792"/>
                    <a:pt x="1063" y="792"/>
                    <a:pt x="1068" y="792"/>
                  </a:cubicBezTo>
                  <a:cubicBezTo>
                    <a:pt x="1073" y="792"/>
                    <a:pt x="1078" y="792"/>
                    <a:pt x="1083" y="792"/>
                  </a:cubicBezTo>
                  <a:cubicBezTo>
                    <a:pt x="1083" y="305"/>
                    <a:pt x="1083" y="305"/>
                    <a:pt x="1083" y="305"/>
                  </a:cubicBezTo>
                  <a:cubicBezTo>
                    <a:pt x="1112" y="302"/>
                    <a:pt x="1138" y="292"/>
                    <a:pt x="1159" y="276"/>
                  </a:cubicBezTo>
                  <a:cubicBezTo>
                    <a:pt x="1266" y="373"/>
                    <a:pt x="1266" y="373"/>
                    <a:pt x="1266" y="373"/>
                  </a:cubicBezTo>
                  <a:cubicBezTo>
                    <a:pt x="1258" y="388"/>
                    <a:pt x="1253" y="406"/>
                    <a:pt x="1253" y="424"/>
                  </a:cubicBezTo>
                  <a:cubicBezTo>
                    <a:pt x="1253" y="467"/>
                    <a:pt x="1278" y="504"/>
                    <a:pt x="1314" y="522"/>
                  </a:cubicBezTo>
                  <a:cubicBezTo>
                    <a:pt x="1193" y="815"/>
                    <a:pt x="1193" y="815"/>
                    <a:pt x="1193" y="815"/>
                  </a:cubicBezTo>
                  <a:cubicBezTo>
                    <a:pt x="1198" y="817"/>
                    <a:pt x="1204" y="819"/>
                    <a:pt x="1209" y="822"/>
                  </a:cubicBezTo>
                  <a:cubicBezTo>
                    <a:pt x="1331" y="529"/>
                    <a:pt x="1331" y="529"/>
                    <a:pt x="1331" y="529"/>
                  </a:cubicBezTo>
                  <a:cubicBezTo>
                    <a:pt x="1341" y="532"/>
                    <a:pt x="1351" y="533"/>
                    <a:pt x="1363" y="533"/>
                  </a:cubicBezTo>
                  <a:cubicBezTo>
                    <a:pt x="1409" y="533"/>
                    <a:pt x="1448" y="505"/>
                    <a:pt x="1464" y="464"/>
                  </a:cubicBezTo>
                  <a:cubicBezTo>
                    <a:pt x="1559" y="472"/>
                    <a:pt x="1559" y="472"/>
                    <a:pt x="1559" y="472"/>
                  </a:cubicBezTo>
                  <a:cubicBezTo>
                    <a:pt x="1558" y="477"/>
                    <a:pt x="1558" y="483"/>
                    <a:pt x="1558" y="488"/>
                  </a:cubicBezTo>
                  <a:cubicBezTo>
                    <a:pt x="1558" y="527"/>
                    <a:pt x="1572" y="562"/>
                    <a:pt x="1596" y="589"/>
                  </a:cubicBezTo>
                  <a:cubicBezTo>
                    <a:pt x="1302" y="883"/>
                    <a:pt x="1302" y="883"/>
                    <a:pt x="1302" y="883"/>
                  </a:cubicBezTo>
                  <a:cubicBezTo>
                    <a:pt x="1310" y="889"/>
                    <a:pt x="1317" y="897"/>
                    <a:pt x="1324" y="904"/>
                  </a:cubicBezTo>
                  <a:cubicBezTo>
                    <a:pt x="1618" y="610"/>
                    <a:pt x="1618" y="610"/>
                    <a:pt x="1618" y="610"/>
                  </a:cubicBezTo>
                  <a:cubicBezTo>
                    <a:pt x="1639" y="625"/>
                    <a:pt x="1664" y="636"/>
                    <a:pt x="1691" y="640"/>
                  </a:cubicBezTo>
                  <a:cubicBezTo>
                    <a:pt x="1678" y="771"/>
                    <a:pt x="1678" y="771"/>
                    <a:pt x="1678" y="771"/>
                  </a:cubicBezTo>
                  <a:cubicBezTo>
                    <a:pt x="1623" y="777"/>
                    <a:pt x="1581" y="823"/>
                    <a:pt x="1581" y="879"/>
                  </a:cubicBezTo>
                  <a:cubicBezTo>
                    <a:pt x="1581" y="891"/>
                    <a:pt x="1583" y="903"/>
                    <a:pt x="1586" y="914"/>
                  </a:cubicBezTo>
                  <a:cubicBezTo>
                    <a:pt x="1385" y="997"/>
                    <a:pt x="1385" y="997"/>
                    <a:pt x="1385" y="997"/>
                  </a:cubicBezTo>
                  <a:cubicBezTo>
                    <a:pt x="1387" y="1003"/>
                    <a:pt x="1390" y="1008"/>
                    <a:pt x="1392" y="1014"/>
                  </a:cubicBezTo>
                  <a:cubicBezTo>
                    <a:pt x="1593" y="930"/>
                    <a:pt x="1593" y="930"/>
                    <a:pt x="1593" y="930"/>
                  </a:cubicBezTo>
                  <a:cubicBezTo>
                    <a:pt x="1612" y="965"/>
                    <a:pt x="1648" y="989"/>
                    <a:pt x="1690" y="989"/>
                  </a:cubicBezTo>
                  <a:cubicBezTo>
                    <a:pt x="1719" y="989"/>
                    <a:pt x="1745" y="978"/>
                    <a:pt x="1764" y="960"/>
                  </a:cubicBezTo>
                  <a:cubicBezTo>
                    <a:pt x="1983" y="1078"/>
                    <a:pt x="1983" y="1078"/>
                    <a:pt x="1983" y="1078"/>
                  </a:cubicBezTo>
                  <a:cubicBezTo>
                    <a:pt x="1978" y="1092"/>
                    <a:pt x="1974" y="1107"/>
                    <a:pt x="1973" y="1123"/>
                  </a:cubicBezTo>
                  <a:cubicBezTo>
                    <a:pt x="1414" y="1123"/>
                    <a:pt x="1414" y="1123"/>
                    <a:pt x="1414" y="1123"/>
                  </a:cubicBezTo>
                  <a:cubicBezTo>
                    <a:pt x="1415" y="1128"/>
                    <a:pt x="1415" y="1133"/>
                    <a:pt x="1415" y="1138"/>
                  </a:cubicBezTo>
                  <a:cubicBezTo>
                    <a:pt x="1415" y="1143"/>
                    <a:pt x="1415" y="1148"/>
                    <a:pt x="1414" y="1153"/>
                  </a:cubicBezTo>
                  <a:cubicBezTo>
                    <a:pt x="1973" y="1153"/>
                    <a:pt x="1973" y="1153"/>
                    <a:pt x="1973" y="1153"/>
                  </a:cubicBezTo>
                  <a:cubicBezTo>
                    <a:pt x="1978" y="1193"/>
                    <a:pt x="1998" y="1229"/>
                    <a:pt x="2028" y="1253"/>
                  </a:cubicBezTo>
                  <a:lnTo>
                    <a:pt x="1940" y="1369"/>
                  </a:lnTo>
                  <a:close/>
                  <a:moveTo>
                    <a:pt x="1350" y="1031"/>
                  </a:moveTo>
                  <a:cubicBezTo>
                    <a:pt x="1348" y="1025"/>
                    <a:pt x="1345" y="1020"/>
                    <a:pt x="1343" y="1014"/>
                  </a:cubicBezTo>
                  <a:cubicBezTo>
                    <a:pt x="1330" y="985"/>
                    <a:pt x="1313" y="959"/>
                    <a:pt x="1292" y="936"/>
                  </a:cubicBezTo>
                  <a:cubicBezTo>
                    <a:pt x="1285" y="928"/>
                    <a:pt x="1278" y="921"/>
                    <a:pt x="1270" y="915"/>
                  </a:cubicBezTo>
                  <a:cubicBezTo>
                    <a:pt x="1247" y="894"/>
                    <a:pt x="1221" y="876"/>
                    <a:pt x="1192" y="863"/>
                  </a:cubicBezTo>
                  <a:cubicBezTo>
                    <a:pt x="1186" y="861"/>
                    <a:pt x="1181" y="858"/>
                    <a:pt x="1175" y="856"/>
                  </a:cubicBezTo>
                  <a:cubicBezTo>
                    <a:pt x="1147" y="845"/>
                    <a:pt x="1116" y="839"/>
                    <a:pt x="1083" y="837"/>
                  </a:cubicBezTo>
                  <a:cubicBezTo>
                    <a:pt x="1079" y="837"/>
                    <a:pt x="1073" y="837"/>
                    <a:pt x="1068" y="837"/>
                  </a:cubicBezTo>
                  <a:cubicBezTo>
                    <a:pt x="1063" y="837"/>
                    <a:pt x="1058" y="837"/>
                    <a:pt x="1053" y="837"/>
                  </a:cubicBezTo>
                  <a:cubicBezTo>
                    <a:pt x="1021" y="839"/>
                    <a:pt x="990" y="845"/>
                    <a:pt x="962" y="856"/>
                  </a:cubicBezTo>
                  <a:cubicBezTo>
                    <a:pt x="956" y="858"/>
                    <a:pt x="950" y="861"/>
                    <a:pt x="945" y="863"/>
                  </a:cubicBezTo>
                  <a:cubicBezTo>
                    <a:pt x="916" y="876"/>
                    <a:pt x="890" y="894"/>
                    <a:pt x="866" y="915"/>
                  </a:cubicBezTo>
                  <a:cubicBezTo>
                    <a:pt x="859" y="921"/>
                    <a:pt x="852" y="928"/>
                    <a:pt x="845" y="936"/>
                  </a:cubicBezTo>
                  <a:cubicBezTo>
                    <a:pt x="824" y="959"/>
                    <a:pt x="807" y="985"/>
                    <a:pt x="794" y="1014"/>
                  </a:cubicBezTo>
                  <a:cubicBezTo>
                    <a:pt x="791" y="1020"/>
                    <a:pt x="789" y="1025"/>
                    <a:pt x="787" y="1031"/>
                  </a:cubicBezTo>
                  <a:cubicBezTo>
                    <a:pt x="776" y="1060"/>
                    <a:pt x="769" y="1091"/>
                    <a:pt x="768" y="1123"/>
                  </a:cubicBezTo>
                  <a:cubicBezTo>
                    <a:pt x="767" y="1128"/>
                    <a:pt x="767" y="1133"/>
                    <a:pt x="767" y="1138"/>
                  </a:cubicBezTo>
                  <a:cubicBezTo>
                    <a:pt x="767" y="1143"/>
                    <a:pt x="767" y="1148"/>
                    <a:pt x="768" y="1153"/>
                  </a:cubicBezTo>
                  <a:cubicBezTo>
                    <a:pt x="769" y="1185"/>
                    <a:pt x="776" y="1216"/>
                    <a:pt x="787" y="1245"/>
                  </a:cubicBezTo>
                  <a:cubicBezTo>
                    <a:pt x="789" y="1250"/>
                    <a:pt x="791" y="1256"/>
                    <a:pt x="794" y="1261"/>
                  </a:cubicBezTo>
                  <a:cubicBezTo>
                    <a:pt x="807" y="1290"/>
                    <a:pt x="824" y="1317"/>
                    <a:pt x="845" y="1340"/>
                  </a:cubicBezTo>
                  <a:cubicBezTo>
                    <a:pt x="852" y="1347"/>
                    <a:pt x="859" y="1354"/>
                    <a:pt x="866" y="1361"/>
                  </a:cubicBezTo>
                  <a:cubicBezTo>
                    <a:pt x="890" y="1382"/>
                    <a:pt x="916" y="1399"/>
                    <a:pt x="945" y="1412"/>
                  </a:cubicBezTo>
                  <a:cubicBezTo>
                    <a:pt x="950" y="1415"/>
                    <a:pt x="956" y="1417"/>
                    <a:pt x="962" y="1419"/>
                  </a:cubicBezTo>
                  <a:cubicBezTo>
                    <a:pt x="990" y="1430"/>
                    <a:pt x="1021" y="1437"/>
                    <a:pt x="1053" y="1439"/>
                  </a:cubicBezTo>
                  <a:cubicBezTo>
                    <a:pt x="1058" y="1439"/>
                    <a:pt x="1063" y="1439"/>
                    <a:pt x="1068" y="1439"/>
                  </a:cubicBezTo>
                  <a:cubicBezTo>
                    <a:pt x="1073" y="1439"/>
                    <a:pt x="1079" y="1439"/>
                    <a:pt x="1083" y="1439"/>
                  </a:cubicBezTo>
                  <a:cubicBezTo>
                    <a:pt x="1116" y="1437"/>
                    <a:pt x="1147" y="1430"/>
                    <a:pt x="1175" y="1419"/>
                  </a:cubicBezTo>
                  <a:cubicBezTo>
                    <a:pt x="1181" y="1417"/>
                    <a:pt x="1186" y="1415"/>
                    <a:pt x="1192" y="1412"/>
                  </a:cubicBezTo>
                  <a:cubicBezTo>
                    <a:pt x="1221" y="1399"/>
                    <a:pt x="1247" y="1382"/>
                    <a:pt x="1270" y="1361"/>
                  </a:cubicBezTo>
                  <a:cubicBezTo>
                    <a:pt x="1278" y="1354"/>
                    <a:pt x="1285" y="1347"/>
                    <a:pt x="1292" y="1340"/>
                  </a:cubicBezTo>
                  <a:cubicBezTo>
                    <a:pt x="1313" y="1317"/>
                    <a:pt x="1330" y="1290"/>
                    <a:pt x="1343" y="1261"/>
                  </a:cubicBezTo>
                  <a:cubicBezTo>
                    <a:pt x="1345" y="1256"/>
                    <a:pt x="1348" y="1250"/>
                    <a:pt x="1350" y="1245"/>
                  </a:cubicBezTo>
                  <a:cubicBezTo>
                    <a:pt x="1361" y="1216"/>
                    <a:pt x="1368" y="1185"/>
                    <a:pt x="1369" y="1153"/>
                  </a:cubicBezTo>
                  <a:cubicBezTo>
                    <a:pt x="1369" y="1148"/>
                    <a:pt x="1370" y="1143"/>
                    <a:pt x="1370" y="1138"/>
                  </a:cubicBezTo>
                  <a:cubicBezTo>
                    <a:pt x="1370" y="1133"/>
                    <a:pt x="1369" y="1128"/>
                    <a:pt x="1369" y="1123"/>
                  </a:cubicBezTo>
                  <a:cubicBezTo>
                    <a:pt x="1368" y="1091"/>
                    <a:pt x="1361" y="1060"/>
                    <a:pt x="1350" y="10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9" name="Group 18"/>
          <p:cNvGrpSpPr/>
          <p:nvPr userDrawn="1"/>
        </p:nvGrpSpPr>
        <p:grpSpPr>
          <a:xfrm>
            <a:off x="4581482" y="3456407"/>
            <a:ext cx="3040219" cy="355306"/>
            <a:chOff x="4591439" y="4583109"/>
            <a:chExt cx="3041407" cy="355224"/>
          </a:xfrm>
        </p:grpSpPr>
        <p:sp>
          <p:nvSpPr>
            <p:cNvPr id="86" name="Rectangle 85"/>
            <p:cNvSpPr/>
            <p:nvPr userDrawn="1"/>
          </p:nvSpPr>
          <p:spPr bwMode="auto">
            <a:xfrm>
              <a:off x="4591439" y="4583109"/>
              <a:ext cx="3041407" cy="35522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Content Creation and Management</a:t>
              </a:r>
            </a:p>
          </p:txBody>
        </p:sp>
        <p:sp>
          <p:nvSpPr>
            <p:cNvPr id="106" name="Freeform 128"/>
            <p:cNvSpPr>
              <a:spLocks noChangeAspect="1" noEditPoints="1"/>
            </p:cNvSpPr>
            <p:nvPr userDrawn="1"/>
          </p:nvSpPr>
          <p:spPr bwMode="black">
            <a:xfrm>
              <a:off x="4654201" y="4595830"/>
              <a:ext cx="274320" cy="241494"/>
            </a:xfrm>
            <a:custGeom>
              <a:avLst/>
              <a:gdLst>
                <a:gd name="T0" fmla="*/ 49 w 71"/>
                <a:gd name="T1" fmla="*/ 21 h 62"/>
                <a:gd name="T2" fmla="*/ 49 w 71"/>
                <a:gd name="T3" fmla="*/ 19 h 62"/>
                <a:gd name="T4" fmla="*/ 49 w 71"/>
                <a:gd name="T5" fmla="*/ 19 h 62"/>
                <a:gd name="T6" fmla="*/ 48 w 71"/>
                <a:gd name="T7" fmla="*/ 17 h 62"/>
                <a:gd name="T8" fmla="*/ 32 w 71"/>
                <a:gd name="T9" fmla="*/ 2 h 62"/>
                <a:gd name="T10" fmla="*/ 28 w 71"/>
                <a:gd name="T11" fmla="*/ 0 h 62"/>
                <a:gd name="T12" fmla="*/ 28 w 71"/>
                <a:gd name="T13" fmla="*/ 0 h 62"/>
                <a:gd name="T14" fmla="*/ 28 w 71"/>
                <a:gd name="T15" fmla="*/ 0 h 62"/>
                <a:gd name="T16" fmla="*/ 6 w 71"/>
                <a:gd name="T17" fmla="*/ 0 h 62"/>
                <a:gd name="T18" fmla="*/ 0 w 71"/>
                <a:gd name="T19" fmla="*/ 5 h 62"/>
                <a:gd name="T20" fmla="*/ 0 w 71"/>
                <a:gd name="T21" fmla="*/ 56 h 62"/>
                <a:gd name="T22" fmla="*/ 6 w 71"/>
                <a:gd name="T23" fmla="*/ 62 h 62"/>
                <a:gd name="T24" fmla="*/ 44 w 71"/>
                <a:gd name="T25" fmla="*/ 62 h 62"/>
                <a:gd name="T26" fmla="*/ 50 w 71"/>
                <a:gd name="T27" fmla="*/ 56 h 62"/>
                <a:gd name="T28" fmla="*/ 50 w 71"/>
                <a:gd name="T29" fmla="*/ 21 h 62"/>
                <a:gd name="T30" fmla="*/ 49 w 71"/>
                <a:gd name="T31" fmla="*/ 21 h 62"/>
                <a:gd name="T32" fmla="*/ 28 w 71"/>
                <a:gd name="T33" fmla="*/ 5 h 62"/>
                <a:gd name="T34" fmla="*/ 44 w 71"/>
                <a:gd name="T35" fmla="*/ 21 h 62"/>
                <a:gd name="T36" fmla="*/ 28 w 71"/>
                <a:gd name="T37" fmla="*/ 21 h 62"/>
                <a:gd name="T38" fmla="*/ 28 w 71"/>
                <a:gd name="T39" fmla="*/ 5 h 62"/>
                <a:gd name="T40" fmla="*/ 44 w 71"/>
                <a:gd name="T41" fmla="*/ 56 h 62"/>
                <a:gd name="T42" fmla="*/ 6 w 71"/>
                <a:gd name="T43" fmla="*/ 56 h 62"/>
                <a:gd name="T44" fmla="*/ 6 w 71"/>
                <a:gd name="T45" fmla="*/ 5 h 62"/>
                <a:gd name="T46" fmla="*/ 23 w 71"/>
                <a:gd name="T47" fmla="*/ 5 h 62"/>
                <a:gd name="T48" fmla="*/ 23 w 71"/>
                <a:gd name="T49" fmla="*/ 21 h 62"/>
                <a:gd name="T50" fmla="*/ 28 w 71"/>
                <a:gd name="T51" fmla="*/ 27 h 62"/>
                <a:gd name="T52" fmla="*/ 44 w 71"/>
                <a:gd name="T53" fmla="*/ 27 h 62"/>
                <a:gd name="T54" fmla="*/ 44 w 71"/>
                <a:gd name="T55" fmla="*/ 56 h 62"/>
                <a:gd name="T56" fmla="*/ 58 w 71"/>
                <a:gd name="T57" fmla="*/ 14 h 62"/>
                <a:gd name="T58" fmla="*/ 60 w 71"/>
                <a:gd name="T59" fmla="*/ 19 h 62"/>
                <a:gd name="T60" fmla="*/ 60 w 71"/>
                <a:gd name="T61" fmla="*/ 56 h 62"/>
                <a:gd name="T62" fmla="*/ 55 w 71"/>
                <a:gd name="T63" fmla="*/ 62 h 62"/>
                <a:gd name="T64" fmla="*/ 53 w 71"/>
                <a:gd name="T65" fmla="*/ 62 h 62"/>
                <a:gd name="T66" fmla="*/ 55 w 71"/>
                <a:gd name="T67" fmla="*/ 57 h 62"/>
                <a:gd name="T68" fmla="*/ 55 w 71"/>
                <a:gd name="T69" fmla="*/ 21 h 62"/>
                <a:gd name="T70" fmla="*/ 53 w 71"/>
                <a:gd name="T71" fmla="*/ 15 h 62"/>
                <a:gd name="T72" fmla="*/ 37 w 71"/>
                <a:gd name="T73" fmla="*/ 0 h 62"/>
                <a:gd name="T74" fmla="*/ 37 w 71"/>
                <a:gd name="T75" fmla="*/ 0 h 62"/>
                <a:gd name="T76" fmla="*/ 39 w 71"/>
                <a:gd name="T77" fmla="*/ 0 h 62"/>
                <a:gd name="T78" fmla="*/ 40 w 71"/>
                <a:gd name="T79" fmla="*/ 0 h 62"/>
                <a:gd name="T80" fmla="*/ 47 w 71"/>
                <a:gd name="T81" fmla="*/ 3 h 62"/>
                <a:gd name="T82" fmla="*/ 58 w 71"/>
                <a:gd name="T83" fmla="*/ 14 h 62"/>
                <a:gd name="T84" fmla="*/ 69 w 71"/>
                <a:gd name="T85" fmla="*/ 13 h 62"/>
                <a:gd name="T86" fmla="*/ 71 w 71"/>
                <a:gd name="T87" fmla="*/ 17 h 62"/>
                <a:gd name="T88" fmla="*/ 71 w 71"/>
                <a:gd name="T89" fmla="*/ 56 h 62"/>
                <a:gd name="T90" fmla="*/ 65 w 71"/>
                <a:gd name="T91" fmla="*/ 62 h 62"/>
                <a:gd name="T92" fmla="*/ 64 w 71"/>
                <a:gd name="T93" fmla="*/ 62 h 62"/>
                <a:gd name="T94" fmla="*/ 65 w 71"/>
                <a:gd name="T95" fmla="*/ 57 h 62"/>
                <a:gd name="T96" fmla="*/ 65 w 71"/>
                <a:gd name="T97" fmla="*/ 18 h 62"/>
                <a:gd name="T98" fmla="*/ 64 w 71"/>
                <a:gd name="T99" fmla="*/ 14 h 62"/>
                <a:gd name="T100" fmla="*/ 50 w 71"/>
                <a:gd name="T101" fmla="*/ 0 h 62"/>
                <a:gd name="T102" fmla="*/ 50 w 71"/>
                <a:gd name="T103" fmla="*/ 0 h 62"/>
                <a:gd name="T104" fmla="*/ 51 w 71"/>
                <a:gd name="T105" fmla="*/ 0 h 62"/>
                <a:gd name="T106" fmla="*/ 52 w 71"/>
                <a:gd name="T107" fmla="*/ 0 h 62"/>
                <a:gd name="T108" fmla="*/ 59 w 71"/>
                <a:gd name="T109" fmla="*/ 3 h 62"/>
                <a:gd name="T110" fmla="*/ 69 w 71"/>
                <a:gd name="T111" fmla="*/ 1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1" h="62">
                  <a:moveTo>
                    <a:pt x="49" y="21"/>
                  </a:moveTo>
                  <a:cubicBezTo>
                    <a:pt x="49" y="20"/>
                    <a:pt x="49" y="20"/>
                    <a:pt x="49" y="19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49" y="18"/>
                    <a:pt x="48" y="18"/>
                    <a:pt x="48" y="17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0"/>
                    <a:pt x="30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9"/>
                    <a:pt x="3" y="62"/>
                    <a:pt x="6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7" y="62"/>
                    <a:pt x="50" y="59"/>
                    <a:pt x="50" y="56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1"/>
                    <a:pt x="49" y="21"/>
                    <a:pt x="49" y="21"/>
                  </a:cubicBezTo>
                  <a:close/>
                  <a:moveTo>
                    <a:pt x="28" y="5"/>
                  </a:moveTo>
                  <a:cubicBezTo>
                    <a:pt x="44" y="21"/>
                    <a:pt x="44" y="21"/>
                    <a:pt x="44" y="21"/>
                  </a:cubicBezTo>
                  <a:cubicBezTo>
                    <a:pt x="28" y="21"/>
                    <a:pt x="28" y="21"/>
                    <a:pt x="28" y="21"/>
                  </a:cubicBezTo>
                  <a:lnTo>
                    <a:pt x="28" y="5"/>
                  </a:lnTo>
                  <a:close/>
                  <a:moveTo>
                    <a:pt x="44" y="56"/>
                  </a:moveTo>
                  <a:cubicBezTo>
                    <a:pt x="6" y="56"/>
                    <a:pt x="6" y="56"/>
                    <a:pt x="6" y="5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4"/>
                    <a:pt x="25" y="27"/>
                    <a:pt x="28" y="27"/>
                  </a:cubicBezTo>
                  <a:cubicBezTo>
                    <a:pt x="44" y="27"/>
                    <a:pt x="44" y="27"/>
                    <a:pt x="44" y="27"/>
                  </a:cubicBezTo>
                  <a:lnTo>
                    <a:pt x="44" y="56"/>
                  </a:lnTo>
                  <a:close/>
                  <a:moveTo>
                    <a:pt x="58" y="14"/>
                  </a:moveTo>
                  <a:cubicBezTo>
                    <a:pt x="59" y="15"/>
                    <a:pt x="60" y="17"/>
                    <a:pt x="60" y="19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9"/>
                    <a:pt x="58" y="62"/>
                    <a:pt x="55" y="62"/>
                  </a:cubicBezTo>
                  <a:cubicBezTo>
                    <a:pt x="53" y="62"/>
                    <a:pt x="53" y="62"/>
                    <a:pt x="53" y="62"/>
                  </a:cubicBezTo>
                  <a:cubicBezTo>
                    <a:pt x="54" y="60"/>
                    <a:pt x="55" y="59"/>
                    <a:pt x="55" y="57"/>
                  </a:cubicBezTo>
                  <a:cubicBezTo>
                    <a:pt x="55" y="21"/>
                    <a:pt x="55" y="21"/>
                    <a:pt x="55" y="21"/>
                  </a:cubicBezTo>
                  <a:cubicBezTo>
                    <a:pt x="55" y="19"/>
                    <a:pt x="54" y="17"/>
                    <a:pt x="53" y="15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1" y="0"/>
                    <a:pt x="44" y="0"/>
                    <a:pt x="47" y="3"/>
                  </a:cubicBezTo>
                  <a:cubicBezTo>
                    <a:pt x="58" y="14"/>
                    <a:pt x="58" y="14"/>
                    <a:pt x="58" y="14"/>
                  </a:cubicBezTo>
                  <a:moveTo>
                    <a:pt x="69" y="13"/>
                  </a:moveTo>
                  <a:cubicBezTo>
                    <a:pt x="70" y="14"/>
                    <a:pt x="71" y="16"/>
                    <a:pt x="71" y="17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9"/>
                    <a:pt x="68" y="62"/>
                    <a:pt x="65" y="62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5" y="60"/>
                    <a:pt x="65" y="59"/>
                    <a:pt x="65" y="57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5" y="17"/>
                    <a:pt x="65" y="15"/>
                    <a:pt x="64" y="14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4" y="0"/>
                    <a:pt x="56" y="0"/>
                    <a:pt x="59" y="3"/>
                  </a:cubicBezTo>
                  <a:cubicBezTo>
                    <a:pt x="69" y="13"/>
                    <a:pt x="69" y="13"/>
                    <a:pt x="69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1" name="Text Placeholder 30"/>
          <p:cNvSpPr>
            <a:spLocks noGrp="1"/>
          </p:cNvSpPr>
          <p:nvPr userDrawn="1">
            <p:ph type="body" sz="quarter" idx="38"/>
          </p:nvPr>
        </p:nvSpPr>
        <p:spPr>
          <a:xfrm>
            <a:off x="4726025" y="5583318"/>
            <a:ext cx="2997617" cy="379500"/>
          </a:xfrm>
        </p:spPr>
        <p:txBody>
          <a:bodyPr/>
          <a:lstStyle>
            <a:lvl1pPr marL="176143" indent="-176143">
              <a:buFont typeface="Wingdings" panose="05000000000000000000" pitchFamily="2" charset="2"/>
              <a:buChar char="ü"/>
              <a:defRPr lang="en-US" sz="1000" kern="1200" spc="0" baseline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4574962" y="5158260"/>
            <a:ext cx="3080590" cy="425819"/>
            <a:chOff x="4576749" y="5001287"/>
            <a:chExt cx="3081794" cy="425720"/>
          </a:xfrm>
        </p:grpSpPr>
        <p:sp>
          <p:nvSpPr>
            <p:cNvPr id="61" name="Rectangle 60"/>
            <p:cNvSpPr/>
            <p:nvPr userDrawn="1"/>
          </p:nvSpPr>
          <p:spPr bwMode="auto">
            <a:xfrm>
              <a:off x="4617136" y="5071783"/>
              <a:ext cx="3041407" cy="35522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Collaborative Applications</a:t>
              </a:r>
            </a:p>
          </p:txBody>
        </p:sp>
        <p:pic>
          <p:nvPicPr>
            <p:cNvPr id="126" name="Picture 125" descr="\\MAGNUM\Projects\Microsoft\Cloud Power FY12\Design\ICONS_PNG\Application.png"/>
            <p:cNvPicPr>
              <a:picLocks noChangeAspect="1" noChangeArrowheads="1"/>
            </p:cNvPicPr>
            <p:nvPr userDrawn="1"/>
          </p:nvPicPr>
          <p:blipFill rotWithShape="1">
            <a:blip r:embed="rId6" cstate="email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576749" y="5001287"/>
              <a:ext cx="469877" cy="378639"/>
            </a:xfrm>
            <a:prstGeom prst="rect">
              <a:avLst/>
            </a:prstGeom>
            <a:noFill/>
          </p:spPr>
        </p:pic>
      </p:grpSp>
      <p:grpSp>
        <p:nvGrpSpPr>
          <p:cNvPr id="29" name="Group 28"/>
          <p:cNvGrpSpPr/>
          <p:nvPr userDrawn="1"/>
        </p:nvGrpSpPr>
        <p:grpSpPr>
          <a:xfrm>
            <a:off x="4574962" y="6265514"/>
            <a:ext cx="2950149" cy="540125"/>
            <a:chOff x="4761375" y="6217146"/>
            <a:chExt cx="2951302" cy="540000"/>
          </a:xfrm>
        </p:grpSpPr>
        <p:sp>
          <p:nvSpPr>
            <p:cNvPr id="121" name="Rectangle 120"/>
            <p:cNvSpPr/>
            <p:nvPr/>
          </p:nvSpPr>
          <p:spPr bwMode="auto">
            <a:xfrm>
              <a:off x="5364201" y="6217146"/>
              <a:ext cx="540000" cy="540000"/>
            </a:xfrm>
            <a:prstGeom prst="rect">
              <a:avLst/>
            </a:prstGeom>
            <a:solidFill>
              <a:srgbClr val="5A8FB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034" rtl="0" eaLnBrk="1" fontAlgn="auto" latinLnBrk="0" hangingPunct="1">
                <a:lnSpc>
                  <a:spcPts val="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Team Collaboration</a:t>
              </a:r>
            </a:p>
          </p:txBody>
        </p:sp>
        <p:pic>
          <p:nvPicPr>
            <p:cNvPr id="122" name="Picture 121"/>
            <p:cNvPicPr>
              <a:picLocks noChangeAspect="1"/>
            </p:cNvPicPr>
            <p:nvPr/>
          </p:nvPicPr>
          <p:blipFill rotWithShape="1">
            <a:blip r:embed="rId7" cstate="print">
              <a:duotone>
                <a:prstClr val="black"/>
                <a:srgbClr val="F4F4F4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953"/>
            <a:stretch/>
          </p:blipFill>
          <p:spPr>
            <a:xfrm>
              <a:off x="5404736" y="6230266"/>
              <a:ext cx="454188" cy="411516"/>
            </a:xfrm>
            <a:prstGeom prst="rect">
              <a:avLst/>
            </a:prstGeom>
          </p:spPr>
        </p:pic>
        <p:grpSp>
          <p:nvGrpSpPr>
            <p:cNvPr id="112" name="Group 111"/>
            <p:cNvGrpSpPr/>
            <p:nvPr userDrawn="1"/>
          </p:nvGrpSpPr>
          <p:grpSpPr>
            <a:xfrm>
              <a:off x="7172677" y="6217146"/>
              <a:ext cx="540000" cy="540000"/>
              <a:chOff x="6751823" y="5943500"/>
              <a:chExt cx="579454" cy="510106"/>
            </a:xfrm>
          </p:grpSpPr>
          <p:sp>
            <p:nvSpPr>
              <p:cNvPr id="119" name="Rectangle 118"/>
              <p:cNvSpPr/>
              <p:nvPr/>
            </p:nvSpPr>
            <p:spPr bwMode="auto">
              <a:xfrm>
                <a:off x="6751823" y="5943500"/>
                <a:ext cx="579454" cy="510106"/>
              </a:xfrm>
              <a:prstGeom prst="rect">
                <a:avLst/>
              </a:prstGeom>
              <a:solidFill>
                <a:srgbClr val="5A8FB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34" rtl="0" eaLnBrk="1" fontAlgn="auto" latinLnBrk="0" hangingPunct="1">
                  <a:lnSpc>
                    <a:spcPts val="6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Community Collaboration </a:t>
                </a:r>
              </a:p>
            </p:txBody>
          </p:sp>
          <p:pic>
            <p:nvPicPr>
              <p:cNvPr id="120" name="Picture 119"/>
              <p:cNvPicPr>
                <a:picLocks noChangeAspect="1"/>
              </p:cNvPicPr>
              <p:nvPr/>
            </p:nvPicPr>
            <p:blipFill rotWithShape="1">
              <a:blip r:embed="rId8" cstate="email">
                <a:duotone>
                  <a:prstClr val="black"/>
                  <a:srgbClr val="F4F4F4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777995" y="5956389"/>
                <a:ext cx="515895" cy="338904"/>
              </a:xfrm>
              <a:prstGeom prst="rect">
                <a:avLst/>
              </a:prstGeom>
            </p:spPr>
          </p:pic>
        </p:grpSp>
        <p:grpSp>
          <p:nvGrpSpPr>
            <p:cNvPr id="113" name="Group 112"/>
            <p:cNvGrpSpPr/>
            <p:nvPr userDrawn="1"/>
          </p:nvGrpSpPr>
          <p:grpSpPr>
            <a:xfrm>
              <a:off x="5967027" y="6217146"/>
              <a:ext cx="540000" cy="540000"/>
              <a:chOff x="5418714" y="5934719"/>
              <a:chExt cx="531584" cy="506947"/>
            </a:xfrm>
          </p:grpSpPr>
          <p:sp>
            <p:nvSpPr>
              <p:cNvPr id="117" name="Rectangle 116"/>
              <p:cNvSpPr/>
              <p:nvPr/>
            </p:nvSpPr>
            <p:spPr bwMode="auto">
              <a:xfrm>
                <a:off x="5418714" y="5934719"/>
                <a:ext cx="531584" cy="506947"/>
              </a:xfrm>
              <a:prstGeom prst="rect">
                <a:avLst/>
              </a:prstGeom>
              <a:solidFill>
                <a:srgbClr val="5A8FB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34" rtl="0" eaLnBrk="1" fontAlgn="auto" latinLnBrk="0" hangingPunct="1">
                  <a:lnSpc>
                    <a:spcPts val="6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Project Collaboration </a:t>
                </a:r>
              </a:p>
            </p:txBody>
          </p:sp>
          <p:pic>
            <p:nvPicPr>
              <p:cNvPr id="118" name="Picture 117"/>
              <p:cNvPicPr>
                <a:picLocks noChangeAspect="1"/>
              </p:cNvPicPr>
              <p:nvPr/>
            </p:nvPicPr>
            <p:blipFill rotWithShape="1">
              <a:blip r:embed="rId9" cstate="email">
                <a:duotone>
                  <a:prstClr val="black"/>
                  <a:srgbClr val="F4F4F4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450638" y="5955030"/>
                <a:ext cx="471473" cy="401938"/>
              </a:xfrm>
              <a:prstGeom prst="rect">
                <a:avLst/>
              </a:prstGeom>
            </p:spPr>
          </p:pic>
        </p:grpSp>
        <p:grpSp>
          <p:nvGrpSpPr>
            <p:cNvPr id="114" name="Group 113"/>
            <p:cNvGrpSpPr/>
            <p:nvPr userDrawn="1"/>
          </p:nvGrpSpPr>
          <p:grpSpPr>
            <a:xfrm>
              <a:off x="6569853" y="6217146"/>
              <a:ext cx="540000" cy="540000"/>
              <a:chOff x="6070926" y="5921033"/>
              <a:chExt cx="547191" cy="506947"/>
            </a:xfrm>
          </p:grpSpPr>
          <p:sp>
            <p:nvSpPr>
              <p:cNvPr id="115" name="Rectangle 114"/>
              <p:cNvSpPr/>
              <p:nvPr/>
            </p:nvSpPr>
            <p:spPr bwMode="auto">
              <a:xfrm>
                <a:off x="6070926" y="5921033"/>
                <a:ext cx="547191" cy="506947"/>
              </a:xfrm>
              <a:prstGeom prst="rect">
                <a:avLst/>
              </a:prstGeom>
              <a:solidFill>
                <a:srgbClr val="5A8FB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34" rtl="0" eaLnBrk="1" fontAlgn="auto" latinLnBrk="0" hangingPunct="1">
                  <a:lnSpc>
                    <a:spcPts val="6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0" i="0" u="none" strike="noStrike" kern="1200" cap="none" spc="-4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Customer &amp; Partner </a:t>
                </a:r>
                <a:br>
                  <a:rPr kumimoji="0" lang="en-US" sz="550" b="0" i="0" u="none" strike="noStrike" kern="1200" cap="none" spc="-4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</a:br>
                <a:r>
                  <a:rPr kumimoji="0" lang="en-US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Collaboration </a:t>
                </a:r>
              </a:p>
            </p:txBody>
          </p:sp>
          <p:pic>
            <p:nvPicPr>
              <p:cNvPr id="116" name="Picture 115"/>
              <p:cNvPicPr>
                <a:picLocks noChangeAspect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58737" y="5932797"/>
                <a:ext cx="365023" cy="338177"/>
              </a:xfrm>
              <a:prstGeom prst="rect">
                <a:avLst/>
              </a:prstGeom>
            </p:spPr>
          </p:pic>
        </p:grpSp>
        <p:grpSp>
          <p:nvGrpSpPr>
            <p:cNvPr id="26" name="Group 25"/>
            <p:cNvGrpSpPr/>
            <p:nvPr userDrawn="1"/>
          </p:nvGrpSpPr>
          <p:grpSpPr>
            <a:xfrm>
              <a:off x="4761375" y="6217146"/>
              <a:ext cx="540000" cy="540000"/>
              <a:chOff x="4049540" y="6166024"/>
              <a:chExt cx="540000" cy="540000"/>
            </a:xfrm>
          </p:grpSpPr>
          <p:sp>
            <p:nvSpPr>
              <p:cNvPr id="127" name="Rectangle 126"/>
              <p:cNvSpPr/>
              <p:nvPr userDrawn="1"/>
            </p:nvSpPr>
            <p:spPr bwMode="auto">
              <a:xfrm>
                <a:off x="4049540" y="6166024"/>
                <a:ext cx="540000" cy="540000"/>
              </a:xfrm>
              <a:prstGeom prst="rect">
                <a:avLst/>
              </a:prstGeom>
              <a:solidFill>
                <a:srgbClr val="5A8FB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034" rtl="0" eaLnBrk="1" fontAlgn="auto" latinLnBrk="0" hangingPunct="1">
                  <a:lnSpc>
                    <a:spcPts val="6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Personal Effectiveness</a:t>
                </a:r>
              </a:p>
            </p:txBody>
          </p:sp>
          <p:sp>
            <p:nvSpPr>
              <p:cNvPr id="109" name="Freeform 108"/>
              <p:cNvSpPr/>
              <p:nvPr userDrawn="1"/>
            </p:nvSpPr>
            <p:spPr bwMode="auto">
              <a:xfrm>
                <a:off x="4212031" y="6213516"/>
                <a:ext cx="188391" cy="321987"/>
              </a:xfrm>
              <a:custGeom>
                <a:avLst/>
                <a:gdLst>
                  <a:gd name="connsiteX0" fmla="*/ 1493818 w 2987636"/>
                  <a:gd name="connsiteY0" fmla="*/ 1720401 h 6944407"/>
                  <a:gd name="connsiteX1" fmla="*/ 2987636 w 2987636"/>
                  <a:gd name="connsiteY1" fmla="*/ 3214219 h 6944407"/>
                  <a:gd name="connsiteX2" fmla="*/ 2920477 w 2987636"/>
                  <a:gd name="connsiteY2" fmla="*/ 3658435 h 6944407"/>
                  <a:gd name="connsiteX3" fmla="*/ 2895229 w 2987636"/>
                  <a:gd name="connsiteY3" fmla="*/ 3727419 h 6944407"/>
                  <a:gd name="connsiteX4" fmla="*/ 2892060 w 2987636"/>
                  <a:gd name="connsiteY4" fmla="*/ 3777386 h 6944407"/>
                  <a:gd name="connsiteX5" fmla="*/ 2797911 w 2987636"/>
                  <a:gd name="connsiteY5" fmla="*/ 4346993 h 6944407"/>
                  <a:gd name="connsiteX6" fmla="*/ 2441889 w 2987636"/>
                  <a:gd name="connsiteY6" fmla="*/ 4729802 h 6944407"/>
                  <a:gd name="connsiteX7" fmla="*/ 2404407 w 2987636"/>
                  <a:gd name="connsiteY7" fmla="*/ 4734977 h 6944407"/>
                  <a:gd name="connsiteX8" fmla="*/ 1975658 w 2987636"/>
                  <a:gd name="connsiteY8" fmla="*/ 6777550 h 6944407"/>
                  <a:gd name="connsiteX9" fmla="*/ 1956147 w 2987636"/>
                  <a:gd name="connsiteY9" fmla="*/ 6822919 h 6944407"/>
                  <a:gd name="connsiteX10" fmla="*/ 1951059 w 2987636"/>
                  <a:gd name="connsiteY10" fmla="*/ 6848128 h 6944407"/>
                  <a:gd name="connsiteX11" fmla="*/ 1805808 w 2987636"/>
                  <a:gd name="connsiteY11" fmla="*/ 6944407 h 6944407"/>
                  <a:gd name="connsiteX12" fmla="*/ 1175273 w 2987636"/>
                  <a:gd name="connsiteY12" fmla="*/ 6944406 h 6944407"/>
                  <a:gd name="connsiteX13" fmla="*/ 1030024 w 2987636"/>
                  <a:gd name="connsiteY13" fmla="*/ 6848128 h 6944407"/>
                  <a:gd name="connsiteX14" fmla="*/ 1024933 w 2987636"/>
                  <a:gd name="connsiteY14" fmla="*/ 6822919 h 6944407"/>
                  <a:gd name="connsiteX15" fmla="*/ 1005424 w 2987636"/>
                  <a:gd name="connsiteY15" fmla="*/ 6777550 h 6944407"/>
                  <a:gd name="connsiteX16" fmla="*/ 575736 w 2987636"/>
                  <a:gd name="connsiteY16" fmla="*/ 4730505 h 6944407"/>
                  <a:gd name="connsiteX17" fmla="*/ 570642 w 2987636"/>
                  <a:gd name="connsiteY17" fmla="*/ 4729802 h 6944407"/>
                  <a:gd name="connsiteX18" fmla="*/ 214621 w 2987636"/>
                  <a:gd name="connsiteY18" fmla="*/ 4346993 h 6944407"/>
                  <a:gd name="connsiteX19" fmla="*/ 126684 w 2987636"/>
                  <a:gd name="connsiteY19" fmla="*/ 3814969 h 6944407"/>
                  <a:gd name="connsiteX20" fmla="*/ 117392 w 2987636"/>
                  <a:gd name="connsiteY20" fmla="*/ 3795681 h 6944407"/>
                  <a:gd name="connsiteX21" fmla="*/ 0 w 2987636"/>
                  <a:gd name="connsiteY21" fmla="*/ 3214219 h 6944407"/>
                  <a:gd name="connsiteX22" fmla="*/ 1493818 w 2987636"/>
                  <a:gd name="connsiteY22" fmla="*/ 1720401 h 6944407"/>
                  <a:gd name="connsiteX23" fmla="*/ 1493819 w 2987636"/>
                  <a:gd name="connsiteY23" fmla="*/ 0 h 6944407"/>
                  <a:gd name="connsiteX24" fmla="*/ 2252612 w 2987636"/>
                  <a:gd name="connsiteY24" fmla="*/ 758793 h 6944407"/>
                  <a:gd name="connsiteX25" fmla="*/ 1493819 w 2987636"/>
                  <a:gd name="connsiteY25" fmla="*/ 1517586 h 6944407"/>
                  <a:gd name="connsiteX26" fmla="*/ 735026 w 2987636"/>
                  <a:gd name="connsiteY26" fmla="*/ 758793 h 6944407"/>
                  <a:gd name="connsiteX27" fmla="*/ 1493819 w 2987636"/>
                  <a:gd name="connsiteY27" fmla="*/ 0 h 6944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987636" h="6944407">
                    <a:moveTo>
                      <a:pt x="1493818" y="1720401"/>
                    </a:moveTo>
                    <a:cubicBezTo>
                      <a:pt x="2318831" y="1720401"/>
                      <a:pt x="2987636" y="2389206"/>
                      <a:pt x="2987636" y="3214219"/>
                    </a:cubicBezTo>
                    <a:cubicBezTo>
                      <a:pt x="2987636" y="3368909"/>
                      <a:pt x="2964124" y="3518107"/>
                      <a:pt x="2920477" y="3658435"/>
                    </a:cubicBezTo>
                    <a:lnTo>
                      <a:pt x="2895229" y="3727419"/>
                    </a:lnTo>
                    <a:lnTo>
                      <a:pt x="2892060" y="3777386"/>
                    </a:lnTo>
                    <a:cubicBezTo>
                      <a:pt x="2860677" y="3967255"/>
                      <a:pt x="2829293" y="4157124"/>
                      <a:pt x="2797911" y="4346993"/>
                    </a:cubicBezTo>
                    <a:cubicBezTo>
                      <a:pt x="2765967" y="4540255"/>
                      <a:pt x="2621057" y="4686651"/>
                      <a:pt x="2441889" y="4729802"/>
                    </a:cubicBezTo>
                    <a:lnTo>
                      <a:pt x="2404407" y="4734977"/>
                    </a:lnTo>
                    <a:lnTo>
                      <a:pt x="1975658" y="6777550"/>
                    </a:lnTo>
                    <a:lnTo>
                      <a:pt x="1956147" y="6822919"/>
                    </a:lnTo>
                    <a:lnTo>
                      <a:pt x="1951059" y="6848128"/>
                    </a:lnTo>
                    <a:cubicBezTo>
                      <a:pt x="1927128" y="6904706"/>
                      <a:pt x="1871104" y="6944406"/>
                      <a:pt x="1805808" y="6944407"/>
                    </a:cubicBezTo>
                    <a:lnTo>
                      <a:pt x="1175273" y="6944406"/>
                    </a:lnTo>
                    <a:cubicBezTo>
                      <a:pt x="1109978" y="6944406"/>
                      <a:pt x="1053954" y="6904707"/>
                      <a:pt x="1030024" y="6848128"/>
                    </a:cubicBezTo>
                    <a:lnTo>
                      <a:pt x="1024933" y="6822919"/>
                    </a:lnTo>
                    <a:lnTo>
                      <a:pt x="1005424" y="6777550"/>
                    </a:lnTo>
                    <a:lnTo>
                      <a:pt x="575736" y="4730505"/>
                    </a:lnTo>
                    <a:lnTo>
                      <a:pt x="570642" y="4729802"/>
                    </a:lnTo>
                    <a:cubicBezTo>
                      <a:pt x="391474" y="4686651"/>
                      <a:pt x="246565" y="4540255"/>
                      <a:pt x="214621" y="4346993"/>
                    </a:cubicBezTo>
                    <a:lnTo>
                      <a:pt x="126684" y="3814969"/>
                    </a:lnTo>
                    <a:lnTo>
                      <a:pt x="117392" y="3795681"/>
                    </a:lnTo>
                    <a:cubicBezTo>
                      <a:pt x="41801" y="3616963"/>
                      <a:pt x="0" y="3420472"/>
                      <a:pt x="0" y="3214219"/>
                    </a:cubicBezTo>
                    <a:cubicBezTo>
                      <a:pt x="0" y="2389206"/>
                      <a:pt x="668805" y="1720401"/>
                      <a:pt x="1493818" y="1720401"/>
                    </a:cubicBezTo>
                    <a:close/>
                    <a:moveTo>
                      <a:pt x="1493819" y="0"/>
                    </a:moveTo>
                    <a:cubicBezTo>
                      <a:pt x="1912889" y="0"/>
                      <a:pt x="2252612" y="339723"/>
                      <a:pt x="2252612" y="758793"/>
                    </a:cubicBezTo>
                    <a:cubicBezTo>
                      <a:pt x="2252612" y="1177863"/>
                      <a:pt x="1912889" y="1517586"/>
                      <a:pt x="1493819" y="1517586"/>
                    </a:cubicBezTo>
                    <a:cubicBezTo>
                      <a:pt x="1074749" y="1517586"/>
                      <a:pt x="735026" y="1177863"/>
                      <a:pt x="735026" y="758793"/>
                    </a:cubicBezTo>
                    <a:cubicBezTo>
                      <a:pt x="735026" y="339723"/>
                      <a:pt x="1074749" y="0"/>
                      <a:pt x="149381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73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-5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0284432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veable Headings Details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7905669" y="0"/>
            <a:ext cx="4281569" cy="685958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36" tIns="45636" rIns="45636" bIns="456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23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99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25741" y="6321651"/>
            <a:ext cx="1461498" cy="537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8074046" y="692757"/>
            <a:ext cx="955302" cy="955896"/>
          </a:xfrm>
        </p:spPr>
        <p:txBody>
          <a:bodyPr/>
          <a:lstStyle>
            <a:lvl1pPr marL="0" indent="0">
              <a:buFontTx/>
              <a:buNone/>
              <a:defRPr sz="1999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7905669" y="177841"/>
            <a:ext cx="4281569" cy="4362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3983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High Impact Persona Examples</a:t>
            </a:r>
          </a:p>
        </p:txBody>
      </p:sp>
      <p:sp>
        <p:nvSpPr>
          <p:cNvPr id="20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074046" y="1768602"/>
            <a:ext cx="955302" cy="955896"/>
          </a:xfrm>
        </p:spPr>
        <p:txBody>
          <a:bodyPr/>
          <a:lstStyle>
            <a:lvl1pPr marL="0" indent="0">
              <a:buFontTx/>
              <a:buNone/>
              <a:defRPr sz="1999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8074046" y="2844447"/>
            <a:ext cx="955302" cy="955896"/>
          </a:xfrm>
        </p:spPr>
        <p:txBody>
          <a:bodyPr/>
          <a:lstStyle>
            <a:lvl1pPr marL="0" indent="0">
              <a:buFontTx/>
              <a:buNone/>
              <a:defRPr sz="1999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3" name="Rectangle 22"/>
          <p:cNvSpPr/>
          <p:nvPr userDrawn="1"/>
        </p:nvSpPr>
        <p:spPr bwMode="auto">
          <a:xfrm>
            <a:off x="4178433" y="0"/>
            <a:ext cx="3727236" cy="6859588"/>
          </a:xfrm>
          <a:prstGeom prst="rect">
            <a:avLst/>
          </a:prstGeom>
          <a:solidFill>
            <a:srgbClr val="8CB1D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5702" tIns="274213" rIns="45702" bIns="4570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ENABLING TECHNOLOGIES</a:t>
            </a:r>
          </a:p>
        </p:txBody>
      </p:sp>
      <p:sp>
        <p:nvSpPr>
          <p:cNvPr id="28" name="Content Placeholder 47"/>
          <p:cNvSpPr>
            <a:spLocks noGrp="1"/>
          </p:cNvSpPr>
          <p:nvPr>
            <p:ph sz="quarter" idx="23" hasCustomPrompt="1"/>
          </p:nvPr>
        </p:nvSpPr>
        <p:spPr>
          <a:xfrm>
            <a:off x="235733" y="647876"/>
            <a:ext cx="3767638" cy="1382273"/>
          </a:xfrm>
        </p:spPr>
        <p:txBody>
          <a:bodyPr lIns="45720" tIns="45720" rIns="45720"/>
          <a:lstStyle>
            <a:lvl1pPr marL="171381" indent="-171381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lang="en-US" sz="1200" kern="1200" spc="0" baseline="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171381" indent="-171381">
              <a:buFont typeface="Wingdings" panose="05000000000000000000" pitchFamily="2" charset="2"/>
              <a:buChar char="§"/>
              <a:defRPr lang="en-US" sz="1100" kern="1200" spc="-71" baseline="0" dirty="0" smtClean="0">
                <a:solidFill>
                  <a:schemeClr val="accent6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285636" indent="-171381">
              <a:buFont typeface="Wingdings" panose="05000000000000000000" pitchFamily="2" charset="2"/>
              <a:buChar char="§"/>
              <a:defRPr sz="1100"/>
            </a:lvl3pPr>
            <a:lvl4pPr marL="349110" indent="-171381">
              <a:buFont typeface="Wingdings" panose="05000000000000000000" pitchFamily="2" charset="2"/>
              <a:buChar char="§"/>
              <a:defRPr sz="1050"/>
            </a:lvl4pPr>
            <a:lvl5pPr marL="349110" indent="-171381">
              <a:buFont typeface="Wingdings" panose="05000000000000000000" pitchFamily="2" charset="2"/>
              <a:buChar char="§"/>
              <a:defRPr sz="105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7983354" y="203174"/>
            <a:ext cx="557740" cy="382916"/>
            <a:chOff x="7999173" y="25327"/>
            <a:chExt cx="557958" cy="382827"/>
          </a:xfrm>
        </p:grpSpPr>
        <p:pic>
          <p:nvPicPr>
            <p:cNvPr id="87" name="Picture 4" descr="\\MAGNUM\Projects\Microsoft\Cloud Power FY12\Design\Icons\PNGs\IT_guy.png"/>
            <p:cNvPicPr>
              <a:picLocks noChangeAspect="1" noChangeArrowheads="1"/>
            </p:cNvPicPr>
            <p:nvPr userDrawn="1"/>
          </p:nvPicPr>
          <p:blipFill>
            <a:blip r:embed="rId3" cstate="email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99173" y="25327"/>
              <a:ext cx="357427" cy="357427"/>
            </a:xfrm>
            <a:prstGeom prst="rect">
              <a:avLst/>
            </a:prstGeom>
            <a:noFill/>
          </p:spPr>
        </p:pic>
        <p:pic>
          <p:nvPicPr>
            <p:cNvPr id="88" name="Picture 4" descr="\\MAGNUM\Projects\Microsoft\Cloud Power FY12\Design\Icons\PNGs\IT_guy.png"/>
            <p:cNvPicPr>
              <a:picLocks noChangeAspect="1" noChangeArrowheads="1"/>
            </p:cNvPicPr>
            <p:nvPr userDrawn="1"/>
          </p:nvPicPr>
          <p:blipFill>
            <a:blip r:embed="rId3" cstate="email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96589" y="50727"/>
              <a:ext cx="357427" cy="357427"/>
            </a:xfrm>
            <a:prstGeom prst="rect">
              <a:avLst/>
            </a:prstGeom>
            <a:noFill/>
          </p:spPr>
        </p:pic>
        <p:pic>
          <p:nvPicPr>
            <p:cNvPr id="89" name="Picture 4" descr="\\MAGNUM\Projects\Microsoft\Cloud Power FY12\Design\Icons\PNGs\IT_guy.png"/>
            <p:cNvPicPr>
              <a:picLocks noChangeAspect="1" noChangeArrowheads="1"/>
            </p:cNvPicPr>
            <p:nvPr userDrawn="1"/>
          </p:nvPicPr>
          <p:blipFill>
            <a:blip r:embed="rId3" cstate="email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99704" y="25327"/>
              <a:ext cx="357427" cy="357427"/>
            </a:xfrm>
            <a:prstGeom prst="rect">
              <a:avLst/>
            </a:prstGeom>
            <a:noFill/>
          </p:spPr>
        </p:pic>
      </p:grpSp>
      <p:sp>
        <p:nvSpPr>
          <p:cNvPr id="36" name="Content Placeholder 47"/>
          <p:cNvSpPr>
            <a:spLocks noGrp="1"/>
          </p:cNvSpPr>
          <p:nvPr>
            <p:ph sz="quarter" idx="24" hasCustomPrompt="1"/>
          </p:nvPr>
        </p:nvSpPr>
        <p:spPr>
          <a:xfrm>
            <a:off x="235733" y="2949282"/>
            <a:ext cx="3767638" cy="1382273"/>
          </a:xfrm>
        </p:spPr>
        <p:txBody>
          <a:bodyPr lIns="45720" tIns="45720" rIns="45720"/>
          <a:lstStyle>
            <a:lvl1pPr marL="171381" indent="-171381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lang="en-US" sz="1200" kern="1200" spc="0" baseline="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171381" indent="-171381">
              <a:buFont typeface="Wingdings" panose="05000000000000000000" pitchFamily="2" charset="2"/>
              <a:buChar char="§"/>
              <a:defRPr lang="en-US" sz="1100" kern="1200" spc="-71" baseline="0" dirty="0" smtClean="0">
                <a:solidFill>
                  <a:schemeClr val="accent6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285636" indent="-171381">
              <a:buFont typeface="Wingdings" panose="05000000000000000000" pitchFamily="2" charset="2"/>
              <a:buChar char="§"/>
              <a:defRPr sz="1100"/>
            </a:lvl3pPr>
            <a:lvl4pPr marL="349110" indent="-171381">
              <a:buFont typeface="Wingdings" panose="05000000000000000000" pitchFamily="2" charset="2"/>
              <a:buChar char="§"/>
              <a:defRPr sz="1050"/>
            </a:lvl4pPr>
            <a:lvl5pPr marL="349110" indent="-171381">
              <a:buFont typeface="Wingdings" panose="05000000000000000000" pitchFamily="2" charset="2"/>
              <a:buChar char="§"/>
              <a:defRPr sz="105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Content Placeholder 47"/>
          <p:cNvSpPr>
            <a:spLocks noGrp="1"/>
          </p:cNvSpPr>
          <p:nvPr>
            <p:ph sz="quarter" idx="25" hasCustomPrompt="1"/>
          </p:nvPr>
        </p:nvSpPr>
        <p:spPr>
          <a:xfrm>
            <a:off x="235733" y="5164712"/>
            <a:ext cx="3767638" cy="1382273"/>
          </a:xfrm>
        </p:spPr>
        <p:txBody>
          <a:bodyPr lIns="45720" tIns="45720" rIns="45720"/>
          <a:lstStyle>
            <a:lvl1pPr marL="171381" indent="-171381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lang="en-US" sz="1200" kern="1200" spc="0" baseline="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171381" indent="-171381">
              <a:buFont typeface="Wingdings" panose="05000000000000000000" pitchFamily="2" charset="2"/>
              <a:buChar char="§"/>
              <a:defRPr lang="en-US" sz="1100" kern="1200" spc="-71" baseline="0" dirty="0" smtClean="0">
                <a:solidFill>
                  <a:schemeClr val="accent6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285636" indent="-171381">
              <a:buFont typeface="Wingdings" panose="05000000000000000000" pitchFamily="2" charset="2"/>
              <a:buChar char="§"/>
              <a:defRPr sz="1100"/>
            </a:lvl3pPr>
            <a:lvl4pPr marL="349110" indent="-171381">
              <a:buFont typeface="Wingdings" panose="05000000000000000000" pitchFamily="2" charset="2"/>
              <a:buChar char="§"/>
              <a:defRPr sz="1050"/>
            </a:lvl4pPr>
            <a:lvl5pPr marL="349110" indent="-171381">
              <a:buFont typeface="Wingdings" panose="05000000000000000000" pitchFamily="2" charset="2"/>
              <a:buChar char="§"/>
              <a:defRPr sz="105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9"/>
          </p:nvPr>
        </p:nvSpPr>
        <p:spPr>
          <a:xfrm>
            <a:off x="9100615" y="693145"/>
            <a:ext cx="3043779" cy="955509"/>
          </a:xfrm>
        </p:spPr>
        <p:txBody>
          <a:bodyPr rIns="45720" anchor="ctr"/>
          <a:lstStyle>
            <a:lvl1pPr marL="0" indent="0">
              <a:buFontTx/>
              <a:buNone/>
              <a:defRPr sz="1399" spc="0" baseline="0">
                <a:solidFill>
                  <a:schemeClr val="bg1"/>
                </a:solidFill>
              </a:defRPr>
            </a:lvl1pPr>
            <a:lvl2pPr marL="57127" indent="0">
              <a:buFontTx/>
              <a:buNone/>
              <a:defRPr sz="1200" spc="0" baseline="0">
                <a:solidFill>
                  <a:schemeClr val="bg1"/>
                </a:solidFill>
              </a:defRPr>
            </a:lvl2pPr>
            <a:lvl3pPr marL="111081" indent="0">
              <a:buFontTx/>
              <a:buNone/>
              <a:defRPr sz="1200" spc="0" baseline="0">
                <a:solidFill>
                  <a:schemeClr val="bg1"/>
                </a:solidFill>
              </a:defRPr>
            </a:lvl3pPr>
            <a:lvl4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4pPr>
            <a:lvl5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sz="quarter" idx="30"/>
          </p:nvPr>
        </p:nvSpPr>
        <p:spPr>
          <a:xfrm>
            <a:off x="9100615" y="1768989"/>
            <a:ext cx="3043779" cy="955509"/>
          </a:xfrm>
        </p:spPr>
        <p:txBody>
          <a:bodyPr rIns="45720" anchor="ctr"/>
          <a:lstStyle>
            <a:lvl1pPr marL="0" indent="0">
              <a:buFontTx/>
              <a:buNone/>
              <a:defRPr sz="1399" spc="0" baseline="0">
                <a:solidFill>
                  <a:schemeClr val="bg1"/>
                </a:solidFill>
              </a:defRPr>
            </a:lvl1pPr>
            <a:lvl2pPr marL="57127" indent="0">
              <a:buFontTx/>
              <a:buNone/>
              <a:defRPr sz="1200" spc="0" baseline="0">
                <a:solidFill>
                  <a:schemeClr val="bg1"/>
                </a:solidFill>
              </a:defRPr>
            </a:lvl2pPr>
            <a:lvl3pPr marL="111081" indent="0">
              <a:buFontTx/>
              <a:buNone/>
              <a:defRPr sz="1200" spc="0" baseline="0">
                <a:solidFill>
                  <a:schemeClr val="bg1"/>
                </a:solidFill>
              </a:defRPr>
            </a:lvl3pPr>
            <a:lvl4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4pPr>
            <a:lvl5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9100615" y="2844447"/>
            <a:ext cx="3043779" cy="955509"/>
          </a:xfrm>
        </p:spPr>
        <p:txBody>
          <a:bodyPr rIns="45720" anchor="ctr"/>
          <a:lstStyle>
            <a:lvl1pPr marL="0" indent="0">
              <a:buFontTx/>
              <a:buNone/>
              <a:defRPr sz="1399" spc="0" baseline="0">
                <a:solidFill>
                  <a:schemeClr val="bg1"/>
                </a:solidFill>
              </a:defRPr>
            </a:lvl1pPr>
            <a:lvl2pPr marL="57127" indent="0">
              <a:buFontTx/>
              <a:buNone/>
              <a:defRPr sz="1200" spc="0" baseline="0">
                <a:solidFill>
                  <a:schemeClr val="bg1"/>
                </a:solidFill>
              </a:defRPr>
            </a:lvl2pPr>
            <a:lvl3pPr marL="111081" indent="0">
              <a:buFontTx/>
              <a:buNone/>
              <a:defRPr sz="1200" spc="0" baseline="0">
                <a:solidFill>
                  <a:schemeClr val="bg1"/>
                </a:solidFill>
              </a:defRPr>
            </a:lvl3pPr>
            <a:lvl4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4pPr>
            <a:lvl5pPr marL="172969" indent="0">
              <a:buFontTx/>
              <a:buNone/>
              <a:defRPr sz="1100" spc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097233" y="3963679"/>
            <a:ext cx="1869512" cy="355306"/>
            <a:chOff x="7908758" y="5507034"/>
            <a:chExt cx="1870242" cy="355224"/>
          </a:xfrm>
        </p:grpSpPr>
        <p:sp>
          <p:nvSpPr>
            <p:cNvPr id="45" name="Rectangle 44"/>
            <p:cNvSpPr/>
            <p:nvPr userDrawn="1"/>
          </p:nvSpPr>
          <p:spPr bwMode="auto">
            <a:xfrm>
              <a:off x="7908758" y="5507034"/>
              <a:ext cx="1870242" cy="35522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99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Knowledge</a:t>
              </a:r>
            </a:p>
          </p:txBody>
        </p:sp>
        <p:pic>
          <p:nvPicPr>
            <p:cNvPr id="46" name="Picture 30" descr="service-based.png"/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08558" y="5547486"/>
              <a:ext cx="264616" cy="27432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3" name="Group 12"/>
          <p:cNvGrpSpPr/>
          <p:nvPr userDrawn="1"/>
        </p:nvGrpSpPr>
        <p:grpSpPr>
          <a:xfrm>
            <a:off x="7943754" y="3963679"/>
            <a:ext cx="1869512" cy="355306"/>
            <a:chOff x="7908758" y="3784961"/>
            <a:chExt cx="1870242" cy="355224"/>
          </a:xfrm>
        </p:grpSpPr>
        <p:sp>
          <p:nvSpPr>
            <p:cNvPr id="24" name="Rectangle 23"/>
            <p:cNvSpPr/>
            <p:nvPr userDrawn="1"/>
          </p:nvSpPr>
          <p:spPr bwMode="auto">
            <a:xfrm>
              <a:off x="7908758" y="3784961"/>
              <a:ext cx="1870242" cy="35522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99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Skills</a:t>
              </a:r>
            </a:p>
          </p:txBody>
        </p:sp>
        <p:sp>
          <p:nvSpPr>
            <p:cNvPr id="47" name="Freeform 43"/>
            <p:cNvSpPr>
              <a:spLocks noChangeAspect="1" noEditPoints="1"/>
            </p:cNvSpPr>
            <p:nvPr userDrawn="1"/>
          </p:nvSpPr>
          <p:spPr bwMode="black">
            <a:xfrm>
              <a:off x="8032537" y="3838645"/>
              <a:ext cx="265176" cy="247856"/>
            </a:xfrm>
            <a:custGeom>
              <a:avLst/>
              <a:gdLst>
                <a:gd name="T0" fmla="*/ 106 w 800"/>
                <a:gd name="T1" fmla="*/ 178 h 748"/>
                <a:gd name="T2" fmla="*/ 204 w 800"/>
                <a:gd name="T3" fmla="*/ 88 h 748"/>
                <a:gd name="T4" fmla="*/ 495 w 800"/>
                <a:gd name="T5" fmla="*/ 588 h 748"/>
                <a:gd name="T6" fmla="*/ 398 w 800"/>
                <a:gd name="T7" fmla="*/ 677 h 748"/>
                <a:gd name="T8" fmla="*/ 148 w 800"/>
                <a:gd name="T9" fmla="*/ 300 h 748"/>
                <a:gd name="T10" fmla="*/ 84 w 800"/>
                <a:gd name="T11" fmla="*/ 138 h 748"/>
                <a:gd name="T12" fmla="*/ 49 w 800"/>
                <a:gd name="T13" fmla="*/ 220 h 748"/>
                <a:gd name="T14" fmla="*/ 0 w 800"/>
                <a:gd name="T15" fmla="*/ 499 h 748"/>
                <a:gd name="T16" fmla="*/ 148 w 800"/>
                <a:gd name="T17" fmla="*/ 300 h 748"/>
                <a:gd name="T18" fmla="*/ 263 w 800"/>
                <a:gd name="T19" fmla="*/ 719 h 748"/>
                <a:gd name="T20" fmla="*/ 257 w 800"/>
                <a:gd name="T21" fmla="*/ 657 h 748"/>
                <a:gd name="T22" fmla="*/ 169 w 800"/>
                <a:gd name="T23" fmla="*/ 732 h 748"/>
                <a:gd name="T24" fmla="*/ 229 w 800"/>
                <a:gd name="T25" fmla="*/ 661 h 748"/>
                <a:gd name="T26" fmla="*/ 169 w 800"/>
                <a:gd name="T27" fmla="*/ 732 h 748"/>
                <a:gd name="T28" fmla="*/ 144 w 800"/>
                <a:gd name="T29" fmla="*/ 735 h 748"/>
                <a:gd name="T30" fmla="*/ 138 w 800"/>
                <a:gd name="T31" fmla="*/ 674 h 748"/>
                <a:gd name="T32" fmla="*/ 51 w 800"/>
                <a:gd name="T33" fmla="*/ 748 h 748"/>
                <a:gd name="T34" fmla="*/ 111 w 800"/>
                <a:gd name="T35" fmla="*/ 678 h 748"/>
                <a:gd name="T36" fmla="*/ 51 w 800"/>
                <a:gd name="T37" fmla="*/ 748 h 748"/>
                <a:gd name="T38" fmla="*/ 28 w 800"/>
                <a:gd name="T39" fmla="*/ 716 h 748"/>
                <a:gd name="T40" fmla="*/ 47 w 800"/>
                <a:gd name="T41" fmla="*/ 741 h 748"/>
                <a:gd name="T42" fmla="*/ 351 w 800"/>
                <a:gd name="T43" fmla="*/ 696 h 748"/>
                <a:gd name="T44" fmla="*/ 328 w 800"/>
                <a:gd name="T45" fmla="*/ 659 h 748"/>
                <a:gd name="T46" fmla="*/ 277 w 800"/>
                <a:gd name="T47" fmla="*/ 706 h 748"/>
                <a:gd name="T48" fmla="*/ 457 w 800"/>
                <a:gd name="T49" fmla="*/ 471 h 748"/>
                <a:gd name="T50" fmla="*/ 505 w 800"/>
                <a:gd name="T51" fmla="*/ 567 h 748"/>
                <a:gd name="T52" fmla="*/ 509 w 800"/>
                <a:gd name="T53" fmla="*/ 568 h 748"/>
                <a:gd name="T54" fmla="*/ 516 w 800"/>
                <a:gd name="T55" fmla="*/ 556 h 748"/>
                <a:gd name="T56" fmla="*/ 667 w 800"/>
                <a:gd name="T57" fmla="*/ 326 h 748"/>
                <a:gd name="T58" fmla="*/ 794 w 800"/>
                <a:gd name="T59" fmla="*/ 166 h 748"/>
                <a:gd name="T60" fmla="*/ 715 w 800"/>
                <a:gd name="T61" fmla="*/ 260 h 748"/>
                <a:gd name="T62" fmla="*/ 775 w 800"/>
                <a:gd name="T63" fmla="*/ 124 h 748"/>
                <a:gd name="T64" fmla="*/ 682 w 800"/>
                <a:gd name="T65" fmla="*/ 241 h 748"/>
                <a:gd name="T66" fmla="*/ 742 w 800"/>
                <a:gd name="T67" fmla="*/ 104 h 748"/>
                <a:gd name="T68" fmla="*/ 650 w 800"/>
                <a:gd name="T69" fmla="*/ 221 h 748"/>
                <a:gd name="T70" fmla="*/ 709 w 800"/>
                <a:gd name="T71" fmla="*/ 85 h 748"/>
                <a:gd name="T72" fmla="*/ 589 w 800"/>
                <a:gd name="T73" fmla="*/ 248 h 748"/>
                <a:gd name="T74" fmla="*/ 615 w 800"/>
                <a:gd name="T75" fmla="*/ 294 h 748"/>
                <a:gd name="T76" fmla="*/ 520 w 800"/>
                <a:gd name="T77" fmla="*/ 247 h 748"/>
                <a:gd name="T78" fmla="*/ 490 w 800"/>
                <a:gd name="T79" fmla="*/ 1 h 748"/>
                <a:gd name="T80" fmla="*/ 460 w 800"/>
                <a:gd name="T81" fmla="*/ 249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00" h="748">
                  <a:moveTo>
                    <a:pt x="350" y="661"/>
                  </a:moveTo>
                  <a:cubicBezTo>
                    <a:pt x="106" y="178"/>
                    <a:pt x="106" y="178"/>
                    <a:pt x="106" y="178"/>
                  </a:cubicBezTo>
                  <a:cubicBezTo>
                    <a:pt x="98" y="160"/>
                    <a:pt x="105" y="138"/>
                    <a:pt x="122" y="130"/>
                  </a:cubicBezTo>
                  <a:cubicBezTo>
                    <a:pt x="204" y="88"/>
                    <a:pt x="204" y="88"/>
                    <a:pt x="204" y="88"/>
                  </a:cubicBezTo>
                  <a:cubicBezTo>
                    <a:pt x="222" y="80"/>
                    <a:pt x="244" y="87"/>
                    <a:pt x="252" y="104"/>
                  </a:cubicBezTo>
                  <a:cubicBezTo>
                    <a:pt x="495" y="588"/>
                    <a:pt x="495" y="588"/>
                    <a:pt x="495" y="588"/>
                  </a:cubicBezTo>
                  <a:cubicBezTo>
                    <a:pt x="504" y="605"/>
                    <a:pt x="497" y="627"/>
                    <a:pt x="479" y="636"/>
                  </a:cubicBezTo>
                  <a:cubicBezTo>
                    <a:pt x="398" y="677"/>
                    <a:pt x="398" y="677"/>
                    <a:pt x="398" y="677"/>
                  </a:cubicBezTo>
                  <a:cubicBezTo>
                    <a:pt x="380" y="686"/>
                    <a:pt x="358" y="679"/>
                    <a:pt x="350" y="661"/>
                  </a:cubicBezTo>
                  <a:close/>
                  <a:moveTo>
                    <a:pt x="148" y="300"/>
                  </a:moveTo>
                  <a:cubicBezTo>
                    <a:pt x="83" y="171"/>
                    <a:pt x="83" y="171"/>
                    <a:pt x="83" y="171"/>
                  </a:cubicBezTo>
                  <a:cubicBezTo>
                    <a:pt x="78" y="161"/>
                    <a:pt x="79" y="148"/>
                    <a:pt x="84" y="138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49" y="220"/>
                    <a:pt x="49" y="220"/>
                    <a:pt x="49" y="220"/>
                  </a:cubicBezTo>
                  <a:cubicBezTo>
                    <a:pt x="63" y="223"/>
                    <a:pt x="63" y="223"/>
                    <a:pt x="63" y="223"/>
                  </a:cubicBezTo>
                  <a:cubicBezTo>
                    <a:pt x="49" y="325"/>
                    <a:pt x="0" y="388"/>
                    <a:pt x="0" y="499"/>
                  </a:cubicBezTo>
                  <a:cubicBezTo>
                    <a:pt x="18" y="529"/>
                    <a:pt x="26" y="622"/>
                    <a:pt x="14" y="672"/>
                  </a:cubicBezTo>
                  <a:cubicBezTo>
                    <a:pt x="85" y="555"/>
                    <a:pt x="129" y="431"/>
                    <a:pt x="148" y="300"/>
                  </a:cubicBezTo>
                  <a:close/>
                  <a:moveTo>
                    <a:pt x="230" y="723"/>
                  </a:moveTo>
                  <a:cubicBezTo>
                    <a:pt x="263" y="719"/>
                    <a:pt x="263" y="719"/>
                    <a:pt x="263" y="719"/>
                  </a:cubicBezTo>
                  <a:cubicBezTo>
                    <a:pt x="290" y="653"/>
                    <a:pt x="290" y="653"/>
                    <a:pt x="290" y="653"/>
                  </a:cubicBezTo>
                  <a:cubicBezTo>
                    <a:pt x="257" y="657"/>
                    <a:pt x="257" y="657"/>
                    <a:pt x="257" y="657"/>
                  </a:cubicBezTo>
                  <a:cubicBezTo>
                    <a:pt x="230" y="723"/>
                    <a:pt x="230" y="723"/>
                    <a:pt x="230" y="723"/>
                  </a:cubicBezTo>
                  <a:close/>
                  <a:moveTo>
                    <a:pt x="169" y="732"/>
                  </a:moveTo>
                  <a:cubicBezTo>
                    <a:pt x="202" y="727"/>
                    <a:pt x="202" y="727"/>
                    <a:pt x="202" y="727"/>
                  </a:cubicBezTo>
                  <a:cubicBezTo>
                    <a:pt x="229" y="661"/>
                    <a:pt x="229" y="661"/>
                    <a:pt x="229" y="661"/>
                  </a:cubicBezTo>
                  <a:cubicBezTo>
                    <a:pt x="196" y="666"/>
                    <a:pt x="196" y="666"/>
                    <a:pt x="196" y="666"/>
                  </a:cubicBezTo>
                  <a:cubicBezTo>
                    <a:pt x="169" y="732"/>
                    <a:pt x="169" y="732"/>
                    <a:pt x="169" y="732"/>
                  </a:cubicBezTo>
                  <a:close/>
                  <a:moveTo>
                    <a:pt x="111" y="740"/>
                  </a:moveTo>
                  <a:cubicBezTo>
                    <a:pt x="144" y="735"/>
                    <a:pt x="144" y="735"/>
                    <a:pt x="144" y="735"/>
                  </a:cubicBezTo>
                  <a:cubicBezTo>
                    <a:pt x="171" y="669"/>
                    <a:pt x="171" y="669"/>
                    <a:pt x="171" y="669"/>
                  </a:cubicBezTo>
                  <a:cubicBezTo>
                    <a:pt x="138" y="674"/>
                    <a:pt x="138" y="674"/>
                    <a:pt x="138" y="674"/>
                  </a:cubicBezTo>
                  <a:cubicBezTo>
                    <a:pt x="111" y="740"/>
                    <a:pt x="111" y="740"/>
                    <a:pt x="111" y="740"/>
                  </a:cubicBezTo>
                  <a:close/>
                  <a:moveTo>
                    <a:pt x="51" y="748"/>
                  </a:moveTo>
                  <a:cubicBezTo>
                    <a:pt x="84" y="744"/>
                    <a:pt x="84" y="744"/>
                    <a:pt x="84" y="744"/>
                  </a:cubicBezTo>
                  <a:cubicBezTo>
                    <a:pt x="111" y="678"/>
                    <a:pt x="111" y="678"/>
                    <a:pt x="111" y="678"/>
                  </a:cubicBezTo>
                  <a:cubicBezTo>
                    <a:pt x="78" y="682"/>
                    <a:pt x="78" y="682"/>
                    <a:pt x="78" y="682"/>
                  </a:cubicBezTo>
                  <a:cubicBezTo>
                    <a:pt x="51" y="748"/>
                    <a:pt x="51" y="748"/>
                    <a:pt x="51" y="748"/>
                  </a:cubicBezTo>
                  <a:close/>
                  <a:moveTo>
                    <a:pt x="47" y="741"/>
                  </a:moveTo>
                  <a:cubicBezTo>
                    <a:pt x="28" y="716"/>
                    <a:pt x="28" y="716"/>
                    <a:pt x="28" y="716"/>
                  </a:cubicBezTo>
                  <a:cubicBezTo>
                    <a:pt x="60" y="711"/>
                    <a:pt x="60" y="711"/>
                    <a:pt x="60" y="711"/>
                  </a:cubicBezTo>
                  <a:cubicBezTo>
                    <a:pt x="47" y="741"/>
                    <a:pt x="47" y="741"/>
                    <a:pt x="47" y="741"/>
                  </a:cubicBezTo>
                  <a:close/>
                  <a:moveTo>
                    <a:pt x="277" y="706"/>
                  </a:moveTo>
                  <a:cubicBezTo>
                    <a:pt x="351" y="696"/>
                    <a:pt x="351" y="696"/>
                    <a:pt x="351" y="696"/>
                  </a:cubicBezTo>
                  <a:cubicBezTo>
                    <a:pt x="347" y="693"/>
                    <a:pt x="343" y="689"/>
                    <a:pt x="341" y="684"/>
                  </a:cubicBezTo>
                  <a:cubicBezTo>
                    <a:pt x="328" y="659"/>
                    <a:pt x="328" y="659"/>
                    <a:pt x="328" y="659"/>
                  </a:cubicBezTo>
                  <a:cubicBezTo>
                    <a:pt x="295" y="664"/>
                    <a:pt x="295" y="664"/>
                    <a:pt x="295" y="664"/>
                  </a:cubicBezTo>
                  <a:cubicBezTo>
                    <a:pt x="277" y="706"/>
                    <a:pt x="277" y="706"/>
                    <a:pt x="277" y="706"/>
                  </a:cubicBezTo>
                  <a:close/>
                  <a:moveTo>
                    <a:pt x="460" y="249"/>
                  </a:moveTo>
                  <a:cubicBezTo>
                    <a:pt x="457" y="471"/>
                    <a:pt x="457" y="471"/>
                    <a:pt x="457" y="471"/>
                  </a:cubicBezTo>
                  <a:cubicBezTo>
                    <a:pt x="481" y="518"/>
                    <a:pt x="481" y="518"/>
                    <a:pt x="481" y="518"/>
                  </a:cubicBezTo>
                  <a:cubicBezTo>
                    <a:pt x="505" y="567"/>
                    <a:pt x="505" y="567"/>
                    <a:pt x="505" y="567"/>
                  </a:cubicBezTo>
                  <a:cubicBezTo>
                    <a:pt x="507" y="571"/>
                    <a:pt x="507" y="571"/>
                    <a:pt x="507" y="571"/>
                  </a:cubicBezTo>
                  <a:cubicBezTo>
                    <a:pt x="509" y="568"/>
                    <a:pt x="509" y="568"/>
                    <a:pt x="509" y="568"/>
                  </a:cubicBezTo>
                  <a:cubicBezTo>
                    <a:pt x="516" y="568"/>
                    <a:pt x="516" y="568"/>
                    <a:pt x="516" y="568"/>
                  </a:cubicBezTo>
                  <a:cubicBezTo>
                    <a:pt x="516" y="556"/>
                    <a:pt x="516" y="556"/>
                    <a:pt x="516" y="556"/>
                  </a:cubicBezTo>
                  <a:cubicBezTo>
                    <a:pt x="658" y="320"/>
                    <a:pt x="658" y="320"/>
                    <a:pt x="658" y="320"/>
                  </a:cubicBezTo>
                  <a:cubicBezTo>
                    <a:pt x="667" y="326"/>
                    <a:pt x="667" y="326"/>
                    <a:pt x="667" y="326"/>
                  </a:cubicBezTo>
                  <a:cubicBezTo>
                    <a:pt x="680" y="333"/>
                    <a:pt x="696" y="329"/>
                    <a:pt x="703" y="317"/>
                  </a:cubicBezTo>
                  <a:cubicBezTo>
                    <a:pt x="794" y="166"/>
                    <a:pt x="794" y="166"/>
                    <a:pt x="794" y="166"/>
                  </a:cubicBezTo>
                  <a:cubicBezTo>
                    <a:pt x="800" y="156"/>
                    <a:pt x="798" y="143"/>
                    <a:pt x="790" y="134"/>
                  </a:cubicBezTo>
                  <a:cubicBezTo>
                    <a:pt x="715" y="260"/>
                    <a:pt x="715" y="260"/>
                    <a:pt x="715" y="260"/>
                  </a:cubicBezTo>
                  <a:cubicBezTo>
                    <a:pt x="699" y="250"/>
                    <a:pt x="699" y="250"/>
                    <a:pt x="699" y="250"/>
                  </a:cubicBezTo>
                  <a:cubicBezTo>
                    <a:pt x="775" y="124"/>
                    <a:pt x="775" y="124"/>
                    <a:pt x="775" y="124"/>
                  </a:cubicBezTo>
                  <a:cubicBezTo>
                    <a:pt x="758" y="114"/>
                    <a:pt x="758" y="114"/>
                    <a:pt x="758" y="114"/>
                  </a:cubicBezTo>
                  <a:cubicBezTo>
                    <a:pt x="682" y="241"/>
                    <a:pt x="682" y="241"/>
                    <a:pt x="682" y="241"/>
                  </a:cubicBezTo>
                  <a:cubicBezTo>
                    <a:pt x="666" y="231"/>
                    <a:pt x="666" y="231"/>
                    <a:pt x="666" y="231"/>
                  </a:cubicBezTo>
                  <a:cubicBezTo>
                    <a:pt x="742" y="104"/>
                    <a:pt x="742" y="104"/>
                    <a:pt x="742" y="104"/>
                  </a:cubicBezTo>
                  <a:cubicBezTo>
                    <a:pt x="725" y="94"/>
                    <a:pt x="725" y="94"/>
                    <a:pt x="725" y="94"/>
                  </a:cubicBezTo>
                  <a:cubicBezTo>
                    <a:pt x="650" y="221"/>
                    <a:pt x="650" y="221"/>
                    <a:pt x="650" y="221"/>
                  </a:cubicBezTo>
                  <a:cubicBezTo>
                    <a:pt x="633" y="211"/>
                    <a:pt x="633" y="211"/>
                    <a:pt x="633" y="211"/>
                  </a:cubicBezTo>
                  <a:cubicBezTo>
                    <a:pt x="709" y="85"/>
                    <a:pt x="709" y="85"/>
                    <a:pt x="709" y="85"/>
                  </a:cubicBezTo>
                  <a:cubicBezTo>
                    <a:pt x="697" y="82"/>
                    <a:pt x="685" y="87"/>
                    <a:pt x="679" y="97"/>
                  </a:cubicBezTo>
                  <a:cubicBezTo>
                    <a:pt x="589" y="248"/>
                    <a:pt x="589" y="248"/>
                    <a:pt x="589" y="248"/>
                  </a:cubicBezTo>
                  <a:cubicBezTo>
                    <a:pt x="581" y="261"/>
                    <a:pt x="585" y="277"/>
                    <a:pt x="598" y="284"/>
                  </a:cubicBezTo>
                  <a:cubicBezTo>
                    <a:pt x="615" y="294"/>
                    <a:pt x="615" y="294"/>
                    <a:pt x="615" y="294"/>
                  </a:cubicBezTo>
                  <a:cubicBezTo>
                    <a:pt x="518" y="456"/>
                    <a:pt x="518" y="456"/>
                    <a:pt x="518" y="456"/>
                  </a:cubicBezTo>
                  <a:cubicBezTo>
                    <a:pt x="520" y="247"/>
                    <a:pt x="520" y="247"/>
                    <a:pt x="520" y="247"/>
                  </a:cubicBezTo>
                  <a:cubicBezTo>
                    <a:pt x="556" y="229"/>
                    <a:pt x="582" y="183"/>
                    <a:pt x="583" y="129"/>
                  </a:cubicBezTo>
                  <a:cubicBezTo>
                    <a:pt x="584" y="59"/>
                    <a:pt x="542" y="2"/>
                    <a:pt x="490" y="1"/>
                  </a:cubicBezTo>
                  <a:cubicBezTo>
                    <a:pt x="437" y="0"/>
                    <a:pt x="394" y="57"/>
                    <a:pt x="393" y="127"/>
                  </a:cubicBezTo>
                  <a:cubicBezTo>
                    <a:pt x="392" y="184"/>
                    <a:pt x="420" y="233"/>
                    <a:pt x="460" y="2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0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8042095" y="4386040"/>
            <a:ext cx="1885426" cy="1377770"/>
          </a:xfrm>
        </p:spPr>
        <p:txBody>
          <a:bodyPr/>
          <a:lstStyle>
            <a:lvl1pPr marL="177729" indent="-177729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ü"/>
              <a:defRPr sz="1050" spc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33"/>
          </p:nvPr>
        </p:nvSpPr>
        <p:spPr>
          <a:xfrm>
            <a:off x="10196995" y="4386040"/>
            <a:ext cx="1885426" cy="1377770"/>
          </a:xfrm>
        </p:spPr>
        <p:txBody>
          <a:bodyPr/>
          <a:lstStyle>
            <a:lvl1pPr marL="177729" indent="-177729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ü"/>
              <a:defRPr sz="1050" spc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9" name="Text Placeholder 9"/>
          <p:cNvSpPr>
            <a:spLocks noGrp="1"/>
          </p:cNvSpPr>
          <p:nvPr userDrawn="1">
            <p:ph type="body" sz="quarter" idx="34"/>
          </p:nvPr>
        </p:nvSpPr>
        <p:spPr>
          <a:xfrm>
            <a:off x="4632182" y="1067011"/>
            <a:ext cx="2941879" cy="1083720"/>
          </a:xfrm>
        </p:spPr>
        <p:txBody>
          <a:bodyPr/>
          <a:lstStyle>
            <a:lvl1pPr marL="177729" indent="-177729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ü"/>
              <a:defRPr sz="1200" spc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1" name="Text Placeholder 9"/>
          <p:cNvSpPr>
            <a:spLocks noGrp="1"/>
          </p:cNvSpPr>
          <p:nvPr userDrawn="1">
            <p:ph type="body" sz="quarter" idx="35"/>
          </p:nvPr>
        </p:nvSpPr>
        <p:spPr>
          <a:xfrm>
            <a:off x="4632182" y="2547690"/>
            <a:ext cx="2941879" cy="1083720"/>
          </a:xfrm>
        </p:spPr>
        <p:txBody>
          <a:bodyPr/>
          <a:lstStyle>
            <a:lvl1pPr marL="177729" indent="-177729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ü"/>
              <a:defRPr sz="1200" spc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9"/>
          <p:cNvSpPr>
            <a:spLocks noGrp="1"/>
          </p:cNvSpPr>
          <p:nvPr userDrawn="1">
            <p:ph type="body" sz="quarter" idx="36"/>
          </p:nvPr>
        </p:nvSpPr>
        <p:spPr>
          <a:xfrm>
            <a:off x="4632182" y="4018235"/>
            <a:ext cx="2941879" cy="1083720"/>
          </a:xfrm>
        </p:spPr>
        <p:txBody>
          <a:bodyPr/>
          <a:lstStyle>
            <a:lvl1pPr marL="177729" indent="-177729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ü"/>
              <a:defRPr sz="1200" spc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2" name="Text Placeholder 9"/>
          <p:cNvSpPr>
            <a:spLocks noGrp="1"/>
          </p:cNvSpPr>
          <p:nvPr userDrawn="1">
            <p:ph type="body" sz="quarter" idx="37"/>
          </p:nvPr>
        </p:nvSpPr>
        <p:spPr>
          <a:xfrm>
            <a:off x="4632182" y="5468426"/>
            <a:ext cx="2941879" cy="1083720"/>
          </a:xfrm>
        </p:spPr>
        <p:txBody>
          <a:bodyPr/>
          <a:lstStyle>
            <a:lvl1pPr marL="177729" indent="-177729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ü"/>
              <a:defRPr sz="1200" spc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4533841" y="3633981"/>
            <a:ext cx="3040219" cy="355306"/>
            <a:chOff x="4535612" y="3770300"/>
            <a:chExt cx="3041407" cy="355224"/>
          </a:xfrm>
        </p:grpSpPr>
        <p:sp>
          <p:nvSpPr>
            <p:cNvPr id="80" name="Rectangle 79"/>
            <p:cNvSpPr/>
            <p:nvPr userDrawn="1"/>
          </p:nvSpPr>
          <p:spPr bwMode="auto">
            <a:xfrm>
              <a:off x="4535612" y="3770300"/>
              <a:ext cx="3041407" cy="35522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99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My Communications</a:t>
              </a:r>
            </a:p>
          </p:txBody>
        </p:sp>
        <p:sp>
          <p:nvSpPr>
            <p:cNvPr id="103" name="Freeform 64"/>
            <p:cNvSpPr>
              <a:spLocks noChangeAspect="1" noEditPoints="1"/>
            </p:cNvSpPr>
            <p:nvPr userDrawn="1"/>
          </p:nvSpPr>
          <p:spPr bwMode="black">
            <a:xfrm>
              <a:off x="4594185" y="3799076"/>
              <a:ext cx="310896" cy="238768"/>
            </a:xfrm>
            <a:custGeom>
              <a:avLst/>
              <a:gdLst>
                <a:gd name="T0" fmla="*/ 12 w 221"/>
                <a:gd name="T1" fmla="*/ 104 h 170"/>
                <a:gd name="T2" fmla="*/ 6 w 221"/>
                <a:gd name="T3" fmla="*/ 103 h 170"/>
                <a:gd name="T4" fmla="*/ 2 w 221"/>
                <a:gd name="T5" fmla="*/ 108 h 170"/>
                <a:gd name="T6" fmla="*/ 10 w 221"/>
                <a:gd name="T7" fmla="*/ 141 h 170"/>
                <a:gd name="T8" fmla="*/ 16 w 221"/>
                <a:gd name="T9" fmla="*/ 143 h 170"/>
                <a:gd name="T10" fmla="*/ 21 w 221"/>
                <a:gd name="T11" fmla="*/ 139 h 170"/>
                <a:gd name="T12" fmla="*/ 12 w 221"/>
                <a:gd name="T13" fmla="*/ 104 h 170"/>
                <a:gd name="T14" fmla="*/ 185 w 221"/>
                <a:gd name="T15" fmla="*/ 8 h 170"/>
                <a:gd name="T16" fmla="*/ 219 w 221"/>
                <a:gd name="T17" fmla="*/ 136 h 170"/>
                <a:gd name="T18" fmla="*/ 209 w 221"/>
                <a:gd name="T19" fmla="*/ 139 h 170"/>
                <a:gd name="T20" fmla="*/ 175 w 221"/>
                <a:gd name="T21" fmla="*/ 10 h 170"/>
                <a:gd name="T22" fmla="*/ 185 w 221"/>
                <a:gd name="T23" fmla="*/ 8 h 170"/>
                <a:gd name="T24" fmla="*/ 104 w 221"/>
                <a:gd name="T25" fmla="*/ 170 h 170"/>
                <a:gd name="T26" fmla="*/ 85 w 221"/>
                <a:gd name="T27" fmla="*/ 170 h 170"/>
                <a:gd name="T28" fmla="*/ 63 w 221"/>
                <a:gd name="T29" fmla="*/ 143 h 170"/>
                <a:gd name="T30" fmla="*/ 73 w 221"/>
                <a:gd name="T31" fmla="*/ 143 h 170"/>
                <a:gd name="T32" fmla="*/ 85 w 221"/>
                <a:gd name="T33" fmla="*/ 157 h 170"/>
                <a:gd name="T34" fmla="*/ 104 w 221"/>
                <a:gd name="T35" fmla="*/ 157 h 170"/>
                <a:gd name="T36" fmla="*/ 116 w 221"/>
                <a:gd name="T37" fmla="*/ 143 h 170"/>
                <a:gd name="T38" fmla="*/ 128 w 221"/>
                <a:gd name="T39" fmla="*/ 143 h 170"/>
                <a:gd name="T40" fmla="*/ 104 w 221"/>
                <a:gd name="T41" fmla="*/ 170 h 170"/>
                <a:gd name="T42" fmla="*/ 18 w 221"/>
                <a:gd name="T43" fmla="*/ 102 h 170"/>
                <a:gd name="T44" fmla="*/ 168 w 221"/>
                <a:gd name="T45" fmla="*/ 16 h 170"/>
                <a:gd name="T46" fmla="*/ 172 w 221"/>
                <a:gd name="T47" fmla="*/ 30 h 170"/>
                <a:gd name="T48" fmla="*/ 20 w 221"/>
                <a:gd name="T49" fmla="*/ 109 h 170"/>
                <a:gd name="T50" fmla="*/ 18 w 221"/>
                <a:gd name="T51" fmla="*/ 102 h 170"/>
                <a:gd name="T52" fmla="*/ 185 w 221"/>
                <a:gd name="T53" fmla="*/ 79 h 170"/>
                <a:gd name="T54" fmla="*/ 201 w 221"/>
                <a:gd name="T55" fmla="*/ 137 h 170"/>
                <a:gd name="T56" fmla="*/ 28 w 221"/>
                <a:gd name="T57" fmla="*/ 138 h 170"/>
                <a:gd name="T58" fmla="*/ 24 w 221"/>
                <a:gd name="T59" fmla="*/ 122 h 170"/>
                <a:gd name="T60" fmla="*/ 185 w 221"/>
                <a:gd name="T61" fmla="*/ 7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1" h="170">
                  <a:moveTo>
                    <a:pt x="12" y="104"/>
                  </a:moveTo>
                  <a:cubicBezTo>
                    <a:pt x="6" y="103"/>
                    <a:pt x="6" y="103"/>
                    <a:pt x="6" y="103"/>
                  </a:cubicBezTo>
                  <a:cubicBezTo>
                    <a:pt x="3" y="103"/>
                    <a:pt x="0" y="104"/>
                    <a:pt x="2" y="108"/>
                  </a:cubicBezTo>
                  <a:cubicBezTo>
                    <a:pt x="10" y="141"/>
                    <a:pt x="10" y="141"/>
                    <a:pt x="10" y="141"/>
                  </a:cubicBezTo>
                  <a:cubicBezTo>
                    <a:pt x="12" y="145"/>
                    <a:pt x="14" y="144"/>
                    <a:pt x="16" y="143"/>
                  </a:cubicBezTo>
                  <a:cubicBezTo>
                    <a:pt x="21" y="139"/>
                    <a:pt x="21" y="139"/>
                    <a:pt x="21" y="139"/>
                  </a:cubicBezTo>
                  <a:cubicBezTo>
                    <a:pt x="12" y="104"/>
                    <a:pt x="12" y="104"/>
                    <a:pt x="12" y="104"/>
                  </a:cubicBezTo>
                  <a:close/>
                  <a:moveTo>
                    <a:pt x="185" y="8"/>
                  </a:moveTo>
                  <a:cubicBezTo>
                    <a:pt x="219" y="136"/>
                    <a:pt x="219" y="136"/>
                    <a:pt x="219" y="136"/>
                  </a:cubicBezTo>
                  <a:cubicBezTo>
                    <a:pt x="221" y="143"/>
                    <a:pt x="211" y="146"/>
                    <a:pt x="209" y="139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173" y="3"/>
                    <a:pt x="183" y="0"/>
                    <a:pt x="185" y="8"/>
                  </a:cubicBezTo>
                  <a:close/>
                  <a:moveTo>
                    <a:pt x="104" y="170"/>
                  </a:moveTo>
                  <a:cubicBezTo>
                    <a:pt x="85" y="170"/>
                    <a:pt x="85" y="170"/>
                    <a:pt x="85" y="170"/>
                  </a:cubicBezTo>
                  <a:cubicBezTo>
                    <a:pt x="69" y="170"/>
                    <a:pt x="62" y="156"/>
                    <a:pt x="63" y="143"/>
                  </a:cubicBezTo>
                  <a:cubicBezTo>
                    <a:pt x="73" y="143"/>
                    <a:pt x="73" y="143"/>
                    <a:pt x="73" y="143"/>
                  </a:cubicBezTo>
                  <a:cubicBezTo>
                    <a:pt x="73" y="150"/>
                    <a:pt x="77" y="157"/>
                    <a:pt x="85" y="157"/>
                  </a:cubicBezTo>
                  <a:cubicBezTo>
                    <a:pt x="104" y="157"/>
                    <a:pt x="104" y="157"/>
                    <a:pt x="104" y="157"/>
                  </a:cubicBezTo>
                  <a:cubicBezTo>
                    <a:pt x="112" y="157"/>
                    <a:pt x="116" y="150"/>
                    <a:pt x="116" y="143"/>
                  </a:cubicBezTo>
                  <a:cubicBezTo>
                    <a:pt x="128" y="143"/>
                    <a:pt x="128" y="143"/>
                    <a:pt x="128" y="143"/>
                  </a:cubicBezTo>
                  <a:cubicBezTo>
                    <a:pt x="128" y="156"/>
                    <a:pt x="120" y="170"/>
                    <a:pt x="104" y="170"/>
                  </a:cubicBezTo>
                  <a:close/>
                  <a:moveTo>
                    <a:pt x="18" y="102"/>
                  </a:moveTo>
                  <a:cubicBezTo>
                    <a:pt x="168" y="16"/>
                    <a:pt x="168" y="16"/>
                    <a:pt x="168" y="16"/>
                  </a:cubicBezTo>
                  <a:cubicBezTo>
                    <a:pt x="172" y="30"/>
                    <a:pt x="172" y="30"/>
                    <a:pt x="172" y="30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18" y="102"/>
                    <a:pt x="18" y="102"/>
                    <a:pt x="18" y="102"/>
                  </a:cubicBezTo>
                  <a:close/>
                  <a:moveTo>
                    <a:pt x="185" y="79"/>
                  </a:moveTo>
                  <a:cubicBezTo>
                    <a:pt x="201" y="137"/>
                    <a:pt x="201" y="137"/>
                    <a:pt x="201" y="137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24" y="122"/>
                    <a:pt x="24" y="122"/>
                    <a:pt x="24" y="122"/>
                  </a:cubicBezTo>
                  <a:cubicBezTo>
                    <a:pt x="185" y="79"/>
                    <a:pt x="185" y="79"/>
                    <a:pt x="185" y="7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8" name="Group 17"/>
          <p:cNvGrpSpPr/>
          <p:nvPr userDrawn="1"/>
        </p:nvGrpSpPr>
        <p:grpSpPr>
          <a:xfrm>
            <a:off x="4533841" y="2163437"/>
            <a:ext cx="3040219" cy="355306"/>
            <a:chOff x="4535612" y="2223896"/>
            <a:chExt cx="3041407" cy="355224"/>
          </a:xfrm>
        </p:grpSpPr>
        <p:sp>
          <p:nvSpPr>
            <p:cNvPr id="69" name="Rectangle 68"/>
            <p:cNvSpPr/>
            <p:nvPr userDrawn="1"/>
          </p:nvSpPr>
          <p:spPr bwMode="auto">
            <a:xfrm>
              <a:off x="4535612" y="2223896"/>
              <a:ext cx="3041407" cy="35522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99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My Collaboration </a:t>
              </a:r>
            </a:p>
          </p:txBody>
        </p:sp>
        <p:sp>
          <p:nvSpPr>
            <p:cNvPr id="104" name="Freeform 73"/>
            <p:cNvSpPr>
              <a:spLocks noChangeAspect="1" noEditPoints="1"/>
            </p:cNvSpPr>
            <p:nvPr userDrawn="1"/>
          </p:nvSpPr>
          <p:spPr bwMode="black">
            <a:xfrm>
              <a:off x="4607552" y="2251444"/>
              <a:ext cx="310896" cy="300128"/>
            </a:xfrm>
            <a:custGeom>
              <a:avLst/>
              <a:gdLst>
                <a:gd name="T0" fmla="*/ 1799 w 2278"/>
                <a:gd name="T1" fmla="*/ 879 h 2201"/>
                <a:gd name="T2" fmla="*/ 1711 w 2278"/>
                <a:gd name="T3" fmla="*/ 335 h 2201"/>
                <a:gd name="T4" fmla="*/ 1363 w 2278"/>
                <a:gd name="T5" fmla="*/ 315 h 2201"/>
                <a:gd name="T6" fmla="*/ 1068 w 2278"/>
                <a:gd name="T7" fmla="*/ 0 h 2201"/>
                <a:gd name="T8" fmla="*/ 810 w 2278"/>
                <a:gd name="T9" fmla="*/ 412 h 2201"/>
                <a:gd name="T10" fmla="*/ 408 w 2278"/>
                <a:gd name="T11" fmla="*/ 325 h 2201"/>
                <a:gd name="T12" fmla="*/ 246 w 2278"/>
                <a:gd name="T13" fmla="*/ 841 h 2201"/>
                <a:gd name="T14" fmla="*/ 0 w 2278"/>
                <a:gd name="T15" fmla="*/ 1138 h 2201"/>
                <a:gd name="T16" fmla="*/ 338 w 2278"/>
                <a:gd name="T17" fmla="*/ 1396 h 2201"/>
                <a:gd name="T18" fmla="*/ 166 w 2278"/>
                <a:gd name="T19" fmla="*/ 1885 h 2201"/>
                <a:gd name="T20" fmla="*/ 769 w 2278"/>
                <a:gd name="T21" fmla="*/ 1966 h 2201"/>
                <a:gd name="T22" fmla="*/ 1053 w 2278"/>
                <a:gd name="T23" fmla="*/ 2200 h 2201"/>
                <a:gd name="T24" fmla="*/ 1081 w 2278"/>
                <a:gd name="T25" fmla="*/ 2201 h 2201"/>
                <a:gd name="T26" fmla="*/ 1184 w 2278"/>
                <a:gd name="T27" fmla="*/ 1949 h 2201"/>
                <a:gd name="T28" fmla="*/ 1666 w 2278"/>
                <a:gd name="T29" fmla="*/ 1872 h 2201"/>
                <a:gd name="T30" fmla="*/ 1874 w 2278"/>
                <a:gd name="T31" fmla="*/ 1743 h 2201"/>
                <a:gd name="T32" fmla="*/ 2060 w 2278"/>
                <a:gd name="T33" fmla="*/ 1273 h 2201"/>
                <a:gd name="T34" fmla="*/ 1940 w 2278"/>
                <a:gd name="T35" fmla="*/ 1369 h 2201"/>
                <a:gd name="T36" fmla="*/ 1385 w 2278"/>
                <a:gd name="T37" fmla="*/ 1279 h 2201"/>
                <a:gd name="T38" fmla="*/ 1837 w 2278"/>
                <a:gd name="T39" fmla="*/ 1733 h 2201"/>
                <a:gd name="T40" fmla="*/ 1302 w 2278"/>
                <a:gd name="T41" fmla="*/ 1393 h 2201"/>
                <a:gd name="T42" fmla="*/ 1433 w 2278"/>
                <a:gd name="T43" fmla="*/ 1759 h 2201"/>
                <a:gd name="T44" fmla="*/ 1193 w 2278"/>
                <a:gd name="T45" fmla="*/ 1461 h 2201"/>
                <a:gd name="T46" fmla="*/ 1156 w 2278"/>
                <a:gd name="T47" fmla="*/ 1924 h 2201"/>
                <a:gd name="T48" fmla="*/ 1053 w 2278"/>
                <a:gd name="T49" fmla="*/ 1484 h 2201"/>
                <a:gd name="T50" fmla="*/ 878 w 2278"/>
                <a:gd name="T51" fmla="*/ 1857 h 2201"/>
                <a:gd name="T52" fmla="*/ 804 w 2278"/>
                <a:gd name="T53" fmla="*/ 1753 h 2201"/>
                <a:gd name="T54" fmla="*/ 438 w 2278"/>
                <a:gd name="T55" fmla="*/ 1789 h 2201"/>
                <a:gd name="T56" fmla="*/ 369 w 2278"/>
                <a:gd name="T57" fmla="*/ 1741 h 2201"/>
                <a:gd name="T58" fmla="*/ 551 w 2278"/>
                <a:gd name="T59" fmla="*/ 1362 h 2201"/>
                <a:gd name="T60" fmla="*/ 447 w 2278"/>
                <a:gd name="T61" fmla="*/ 1287 h 2201"/>
                <a:gd name="T62" fmla="*/ 723 w 2278"/>
                <a:gd name="T63" fmla="*/ 1153 h 2201"/>
                <a:gd name="T64" fmla="*/ 253 w 2278"/>
                <a:gd name="T65" fmla="*/ 1023 h 2201"/>
                <a:gd name="T66" fmla="*/ 745 w 2278"/>
                <a:gd name="T67" fmla="*/ 1014 h 2201"/>
                <a:gd name="T68" fmla="*/ 386 w 2278"/>
                <a:gd name="T69" fmla="*/ 736 h 2201"/>
                <a:gd name="T70" fmla="*/ 813 w 2278"/>
                <a:gd name="T71" fmla="*/ 904 h 2201"/>
                <a:gd name="T72" fmla="*/ 701 w 2278"/>
                <a:gd name="T73" fmla="*/ 530 h 2201"/>
                <a:gd name="T74" fmla="*/ 944 w 2278"/>
                <a:gd name="T75" fmla="*/ 815 h 2201"/>
                <a:gd name="T76" fmla="*/ 996 w 2278"/>
                <a:gd name="T77" fmla="*/ 287 h 2201"/>
                <a:gd name="T78" fmla="*/ 1083 w 2278"/>
                <a:gd name="T79" fmla="*/ 792 h 2201"/>
                <a:gd name="T80" fmla="*/ 1253 w 2278"/>
                <a:gd name="T81" fmla="*/ 424 h 2201"/>
                <a:gd name="T82" fmla="*/ 1331 w 2278"/>
                <a:gd name="T83" fmla="*/ 529 h 2201"/>
                <a:gd name="T84" fmla="*/ 1558 w 2278"/>
                <a:gd name="T85" fmla="*/ 488 h 2201"/>
                <a:gd name="T86" fmla="*/ 1618 w 2278"/>
                <a:gd name="T87" fmla="*/ 610 h 2201"/>
                <a:gd name="T88" fmla="*/ 1586 w 2278"/>
                <a:gd name="T89" fmla="*/ 914 h 2201"/>
                <a:gd name="T90" fmla="*/ 1690 w 2278"/>
                <a:gd name="T91" fmla="*/ 989 h 2201"/>
                <a:gd name="T92" fmla="*/ 1414 w 2278"/>
                <a:gd name="T93" fmla="*/ 1123 h 2201"/>
                <a:gd name="T94" fmla="*/ 2028 w 2278"/>
                <a:gd name="T95" fmla="*/ 1253 h 2201"/>
                <a:gd name="T96" fmla="*/ 1292 w 2278"/>
                <a:gd name="T97" fmla="*/ 936 h 2201"/>
                <a:gd name="T98" fmla="*/ 1083 w 2278"/>
                <a:gd name="T99" fmla="*/ 837 h 2201"/>
                <a:gd name="T100" fmla="*/ 945 w 2278"/>
                <a:gd name="T101" fmla="*/ 863 h 2201"/>
                <a:gd name="T102" fmla="*/ 787 w 2278"/>
                <a:gd name="T103" fmla="*/ 1031 h 2201"/>
                <a:gd name="T104" fmla="*/ 787 w 2278"/>
                <a:gd name="T105" fmla="*/ 1245 h 2201"/>
                <a:gd name="T106" fmla="*/ 945 w 2278"/>
                <a:gd name="T107" fmla="*/ 1412 h 2201"/>
                <a:gd name="T108" fmla="*/ 1083 w 2278"/>
                <a:gd name="T109" fmla="*/ 1439 h 2201"/>
                <a:gd name="T110" fmla="*/ 1292 w 2278"/>
                <a:gd name="T111" fmla="*/ 1340 h 2201"/>
                <a:gd name="T112" fmla="*/ 1370 w 2278"/>
                <a:gd name="T113" fmla="*/ 1138 h 2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78" h="2201">
                  <a:moveTo>
                    <a:pt x="2125" y="983"/>
                  </a:moveTo>
                  <a:cubicBezTo>
                    <a:pt x="2074" y="983"/>
                    <a:pt x="2030" y="1007"/>
                    <a:pt x="2002" y="1045"/>
                  </a:cubicBezTo>
                  <a:cubicBezTo>
                    <a:pt x="1787" y="929"/>
                    <a:pt x="1787" y="929"/>
                    <a:pt x="1787" y="929"/>
                  </a:cubicBezTo>
                  <a:cubicBezTo>
                    <a:pt x="1795" y="914"/>
                    <a:pt x="1799" y="897"/>
                    <a:pt x="1799" y="879"/>
                  </a:cubicBezTo>
                  <a:cubicBezTo>
                    <a:pt x="1799" y="828"/>
                    <a:pt x="1764" y="785"/>
                    <a:pt x="1715" y="773"/>
                  </a:cubicBezTo>
                  <a:cubicBezTo>
                    <a:pt x="1729" y="640"/>
                    <a:pt x="1729" y="640"/>
                    <a:pt x="1729" y="640"/>
                  </a:cubicBezTo>
                  <a:cubicBezTo>
                    <a:pt x="1805" y="630"/>
                    <a:pt x="1863" y="566"/>
                    <a:pt x="1863" y="488"/>
                  </a:cubicBezTo>
                  <a:cubicBezTo>
                    <a:pt x="1863" y="404"/>
                    <a:pt x="1795" y="335"/>
                    <a:pt x="1711" y="335"/>
                  </a:cubicBezTo>
                  <a:cubicBezTo>
                    <a:pt x="1645" y="335"/>
                    <a:pt x="1589" y="377"/>
                    <a:pt x="1567" y="435"/>
                  </a:cubicBezTo>
                  <a:cubicBezTo>
                    <a:pt x="1472" y="427"/>
                    <a:pt x="1472" y="427"/>
                    <a:pt x="1472" y="427"/>
                  </a:cubicBezTo>
                  <a:cubicBezTo>
                    <a:pt x="1472" y="426"/>
                    <a:pt x="1472" y="425"/>
                    <a:pt x="1472" y="424"/>
                  </a:cubicBezTo>
                  <a:cubicBezTo>
                    <a:pt x="1472" y="364"/>
                    <a:pt x="1423" y="315"/>
                    <a:pt x="1363" y="315"/>
                  </a:cubicBezTo>
                  <a:cubicBezTo>
                    <a:pt x="1334" y="315"/>
                    <a:pt x="1309" y="326"/>
                    <a:pt x="1289" y="343"/>
                  </a:cubicBezTo>
                  <a:cubicBezTo>
                    <a:pt x="1187" y="250"/>
                    <a:pt x="1187" y="250"/>
                    <a:pt x="1187" y="250"/>
                  </a:cubicBezTo>
                  <a:cubicBezTo>
                    <a:pt x="1208" y="223"/>
                    <a:pt x="1221" y="190"/>
                    <a:pt x="1221" y="153"/>
                  </a:cubicBezTo>
                  <a:cubicBezTo>
                    <a:pt x="1221" y="69"/>
                    <a:pt x="1153" y="0"/>
                    <a:pt x="1068" y="0"/>
                  </a:cubicBezTo>
                  <a:cubicBezTo>
                    <a:pt x="984" y="0"/>
                    <a:pt x="916" y="69"/>
                    <a:pt x="916" y="153"/>
                  </a:cubicBezTo>
                  <a:cubicBezTo>
                    <a:pt x="916" y="197"/>
                    <a:pt x="935" y="237"/>
                    <a:pt x="965" y="265"/>
                  </a:cubicBezTo>
                  <a:cubicBezTo>
                    <a:pt x="856" y="422"/>
                    <a:pt x="856" y="422"/>
                    <a:pt x="856" y="422"/>
                  </a:cubicBezTo>
                  <a:cubicBezTo>
                    <a:pt x="842" y="416"/>
                    <a:pt x="827" y="412"/>
                    <a:pt x="810" y="412"/>
                  </a:cubicBezTo>
                  <a:cubicBezTo>
                    <a:pt x="760" y="412"/>
                    <a:pt x="717" y="446"/>
                    <a:pt x="705" y="493"/>
                  </a:cubicBezTo>
                  <a:cubicBezTo>
                    <a:pt x="561" y="480"/>
                    <a:pt x="561" y="480"/>
                    <a:pt x="561" y="480"/>
                  </a:cubicBezTo>
                  <a:cubicBezTo>
                    <a:pt x="561" y="480"/>
                    <a:pt x="561" y="479"/>
                    <a:pt x="561" y="478"/>
                  </a:cubicBezTo>
                  <a:cubicBezTo>
                    <a:pt x="561" y="394"/>
                    <a:pt x="493" y="325"/>
                    <a:pt x="408" y="325"/>
                  </a:cubicBezTo>
                  <a:cubicBezTo>
                    <a:pt x="324" y="325"/>
                    <a:pt x="256" y="394"/>
                    <a:pt x="256" y="478"/>
                  </a:cubicBezTo>
                  <a:cubicBezTo>
                    <a:pt x="256" y="546"/>
                    <a:pt x="300" y="603"/>
                    <a:pt x="362" y="623"/>
                  </a:cubicBezTo>
                  <a:cubicBezTo>
                    <a:pt x="348" y="732"/>
                    <a:pt x="348" y="732"/>
                    <a:pt x="348" y="732"/>
                  </a:cubicBezTo>
                  <a:cubicBezTo>
                    <a:pt x="291" y="736"/>
                    <a:pt x="246" y="783"/>
                    <a:pt x="246" y="841"/>
                  </a:cubicBezTo>
                  <a:cubicBezTo>
                    <a:pt x="246" y="873"/>
                    <a:pt x="259" y="901"/>
                    <a:pt x="281" y="921"/>
                  </a:cubicBezTo>
                  <a:cubicBezTo>
                    <a:pt x="221" y="1002"/>
                    <a:pt x="221" y="1002"/>
                    <a:pt x="221" y="1002"/>
                  </a:cubicBezTo>
                  <a:cubicBezTo>
                    <a:pt x="201" y="991"/>
                    <a:pt x="177" y="985"/>
                    <a:pt x="153" y="985"/>
                  </a:cubicBezTo>
                  <a:cubicBezTo>
                    <a:pt x="68" y="985"/>
                    <a:pt x="0" y="1054"/>
                    <a:pt x="0" y="1138"/>
                  </a:cubicBezTo>
                  <a:cubicBezTo>
                    <a:pt x="0" y="1222"/>
                    <a:pt x="68" y="1291"/>
                    <a:pt x="153" y="1291"/>
                  </a:cubicBezTo>
                  <a:cubicBezTo>
                    <a:pt x="190" y="1291"/>
                    <a:pt x="225" y="1277"/>
                    <a:pt x="251" y="1254"/>
                  </a:cubicBezTo>
                  <a:cubicBezTo>
                    <a:pt x="354" y="1339"/>
                    <a:pt x="354" y="1339"/>
                    <a:pt x="354" y="1339"/>
                  </a:cubicBezTo>
                  <a:cubicBezTo>
                    <a:pt x="344" y="1356"/>
                    <a:pt x="338" y="1375"/>
                    <a:pt x="338" y="1396"/>
                  </a:cubicBezTo>
                  <a:cubicBezTo>
                    <a:pt x="338" y="1436"/>
                    <a:pt x="359" y="1471"/>
                    <a:pt x="392" y="1490"/>
                  </a:cubicBezTo>
                  <a:cubicBezTo>
                    <a:pt x="332" y="1733"/>
                    <a:pt x="332" y="1733"/>
                    <a:pt x="332" y="1733"/>
                  </a:cubicBezTo>
                  <a:cubicBezTo>
                    <a:pt x="328" y="1732"/>
                    <a:pt x="323" y="1732"/>
                    <a:pt x="319" y="1732"/>
                  </a:cubicBezTo>
                  <a:cubicBezTo>
                    <a:pt x="235" y="1732"/>
                    <a:pt x="166" y="1800"/>
                    <a:pt x="166" y="1885"/>
                  </a:cubicBezTo>
                  <a:cubicBezTo>
                    <a:pt x="166" y="1969"/>
                    <a:pt x="235" y="2038"/>
                    <a:pt x="319" y="2038"/>
                  </a:cubicBezTo>
                  <a:cubicBezTo>
                    <a:pt x="399" y="2038"/>
                    <a:pt x="464" y="1977"/>
                    <a:pt x="471" y="1899"/>
                  </a:cubicBezTo>
                  <a:cubicBezTo>
                    <a:pt x="664" y="1884"/>
                    <a:pt x="664" y="1884"/>
                    <a:pt x="664" y="1884"/>
                  </a:cubicBezTo>
                  <a:cubicBezTo>
                    <a:pt x="676" y="1931"/>
                    <a:pt x="718" y="1966"/>
                    <a:pt x="769" y="1966"/>
                  </a:cubicBezTo>
                  <a:cubicBezTo>
                    <a:pt x="802" y="1966"/>
                    <a:pt x="832" y="1951"/>
                    <a:pt x="852" y="1928"/>
                  </a:cubicBezTo>
                  <a:cubicBezTo>
                    <a:pt x="931" y="1982"/>
                    <a:pt x="931" y="1982"/>
                    <a:pt x="931" y="1982"/>
                  </a:cubicBezTo>
                  <a:cubicBezTo>
                    <a:pt x="921" y="2002"/>
                    <a:pt x="916" y="2024"/>
                    <a:pt x="916" y="2049"/>
                  </a:cubicBezTo>
                  <a:cubicBezTo>
                    <a:pt x="916" y="2128"/>
                    <a:pt x="976" y="2193"/>
                    <a:pt x="1053" y="2200"/>
                  </a:cubicBezTo>
                  <a:cubicBezTo>
                    <a:pt x="1053" y="2201"/>
                    <a:pt x="1053" y="2201"/>
                    <a:pt x="1053" y="2201"/>
                  </a:cubicBezTo>
                  <a:cubicBezTo>
                    <a:pt x="1056" y="2201"/>
                    <a:pt x="1056" y="2201"/>
                    <a:pt x="1056" y="2201"/>
                  </a:cubicBezTo>
                  <a:cubicBezTo>
                    <a:pt x="1060" y="2201"/>
                    <a:pt x="1064" y="2201"/>
                    <a:pt x="1068" y="2201"/>
                  </a:cubicBezTo>
                  <a:cubicBezTo>
                    <a:pt x="1073" y="2201"/>
                    <a:pt x="1077" y="2201"/>
                    <a:pt x="1081" y="2201"/>
                  </a:cubicBezTo>
                  <a:cubicBezTo>
                    <a:pt x="1083" y="2201"/>
                    <a:pt x="1083" y="2201"/>
                    <a:pt x="1083" y="2201"/>
                  </a:cubicBezTo>
                  <a:cubicBezTo>
                    <a:pt x="1083" y="2201"/>
                    <a:pt x="1083" y="2201"/>
                    <a:pt x="1083" y="2201"/>
                  </a:cubicBezTo>
                  <a:cubicBezTo>
                    <a:pt x="1161" y="2193"/>
                    <a:pt x="1221" y="2128"/>
                    <a:pt x="1221" y="2049"/>
                  </a:cubicBezTo>
                  <a:cubicBezTo>
                    <a:pt x="1221" y="2011"/>
                    <a:pt x="1207" y="1976"/>
                    <a:pt x="1184" y="1949"/>
                  </a:cubicBezTo>
                  <a:cubicBezTo>
                    <a:pt x="1268" y="1853"/>
                    <a:pt x="1268" y="1853"/>
                    <a:pt x="1268" y="1853"/>
                  </a:cubicBezTo>
                  <a:cubicBezTo>
                    <a:pt x="1285" y="1863"/>
                    <a:pt x="1304" y="1869"/>
                    <a:pt x="1324" y="1869"/>
                  </a:cubicBezTo>
                  <a:cubicBezTo>
                    <a:pt x="1364" y="1869"/>
                    <a:pt x="1399" y="1847"/>
                    <a:pt x="1418" y="1815"/>
                  </a:cubicBezTo>
                  <a:cubicBezTo>
                    <a:pt x="1666" y="1872"/>
                    <a:pt x="1666" y="1872"/>
                    <a:pt x="1666" y="1872"/>
                  </a:cubicBezTo>
                  <a:cubicBezTo>
                    <a:pt x="1665" y="1876"/>
                    <a:pt x="1665" y="1880"/>
                    <a:pt x="1665" y="1885"/>
                  </a:cubicBezTo>
                  <a:cubicBezTo>
                    <a:pt x="1665" y="1969"/>
                    <a:pt x="1734" y="2038"/>
                    <a:pt x="1818" y="2038"/>
                  </a:cubicBezTo>
                  <a:cubicBezTo>
                    <a:pt x="1902" y="2038"/>
                    <a:pt x="1971" y="1969"/>
                    <a:pt x="1971" y="1885"/>
                  </a:cubicBezTo>
                  <a:cubicBezTo>
                    <a:pt x="1971" y="1820"/>
                    <a:pt x="1931" y="1765"/>
                    <a:pt x="1874" y="1743"/>
                  </a:cubicBezTo>
                  <a:cubicBezTo>
                    <a:pt x="1893" y="1572"/>
                    <a:pt x="1893" y="1572"/>
                    <a:pt x="1893" y="1572"/>
                  </a:cubicBezTo>
                  <a:cubicBezTo>
                    <a:pt x="1949" y="1567"/>
                    <a:pt x="1994" y="1520"/>
                    <a:pt x="1994" y="1463"/>
                  </a:cubicBezTo>
                  <a:cubicBezTo>
                    <a:pt x="1994" y="1436"/>
                    <a:pt x="1984" y="1412"/>
                    <a:pt x="1969" y="1393"/>
                  </a:cubicBezTo>
                  <a:cubicBezTo>
                    <a:pt x="2060" y="1273"/>
                    <a:pt x="2060" y="1273"/>
                    <a:pt x="2060" y="1273"/>
                  </a:cubicBezTo>
                  <a:cubicBezTo>
                    <a:pt x="2080" y="1283"/>
                    <a:pt x="2102" y="1288"/>
                    <a:pt x="2125" y="1288"/>
                  </a:cubicBezTo>
                  <a:cubicBezTo>
                    <a:pt x="2209" y="1288"/>
                    <a:pt x="2278" y="1220"/>
                    <a:pt x="2278" y="1135"/>
                  </a:cubicBezTo>
                  <a:cubicBezTo>
                    <a:pt x="2278" y="1051"/>
                    <a:pt x="2209" y="983"/>
                    <a:pt x="2125" y="983"/>
                  </a:cubicBezTo>
                  <a:close/>
                  <a:moveTo>
                    <a:pt x="1940" y="1369"/>
                  </a:moveTo>
                  <a:cubicBezTo>
                    <a:pt x="1924" y="1359"/>
                    <a:pt x="1905" y="1353"/>
                    <a:pt x="1884" y="1353"/>
                  </a:cubicBezTo>
                  <a:cubicBezTo>
                    <a:pt x="1838" y="1353"/>
                    <a:pt x="1798" y="1383"/>
                    <a:pt x="1782" y="1424"/>
                  </a:cubicBezTo>
                  <a:cubicBezTo>
                    <a:pt x="1392" y="1262"/>
                    <a:pt x="1392" y="1262"/>
                    <a:pt x="1392" y="1262"/>
                  </a:cubicBezTo>
                  <a:cubicBezTo>
                    <a:pt x="1390" y="1268"/>
                    <a:pt x="1387" y="1273"/>
                    <a:pt x="1385" y="1279"/>
                  </a:cubicBezTo>
                  <a:cubicBezTo>
                    <a:pt x="1777" y="1441"/>
                    <a:pt x="1777" y="1441"/>
                    <a:pt x="1777" y="1441"/>
                  </a:cubicBezTo>
                  <a:cubicBezTo>
                    <a:pt x="1776" y="1448"/>
                    <a:pt x="1775" y="1455"/>
                    <a:pt x="1775" y="1463"/>
                  </a:cubicBezTo>
                  <a:cubicBezTo>
                    <a:pt x="1775" y="1513"/>
                    <a:pt x="1809" y="1555"/>
                    <a:pt x="1855" y="1568"/>
                  </a:cubicBezTo>
                  <a:cubicBezTo>
                    <a:pt x="1837" y="1733"/>
                    <a:pt x="1837" y="1733"/>
                    <a:pt x="1837" y="1733"/>
                  </a:cubicBezTo>
                  <a:cubicBezTo>
                    <a:pt x="1831" y="1733"/>
                    <a:pt x="1825" y="1732"/>
                    <a:pt x="1818" y="1732"/>
                  </a:cubicBezTo>
                  <a:cubicBezTo>
                    <a:pt x="1781" y="1732"/>
                    <a:pt x="1746" y="1746"/>
                    <a:pt x="1720" y="1768"/>
                  </a:cubicBezTo>
                  <a:cubicBezTo>
                    <a:pt x="1324" y="1372"/>
                    <a:pt x="1324" y="1372"/>
                    <a:pt x="1324" y="1372"/>
                  </a:cubicBezTo>
                  <a:cubicBezTo>
                    <a:pt x="1317" y="1379"/>
                    <a:pt x="1310" y="1386"/>
                    <a:pt x="1302" y="1393"/>
                  </a:cubicBezTo>
                  <a:cubicBezTo>
                    <a:pt x="1699" y="1789"/>
                    <a:pt x="1699" y="1789"/>
                    <a:pt x="1699" y="1789"/>
                  </a:cubicBezTo>
                  <a:cubicBezTo>
                    <a:pt x="1688" y="1803"/>
                    <a:pt x="1679" y="1818"/>
                    <a:pt x="1674" y="1835"/>
                  </a:cubicBezTo>
                  <a:cubicBezTo>
                    <a:pt x="1432" y="1779"/>
                    <a:pt x="1432" y="1779"/>
                    <a:pt x="1432" y="1779"/>
                  </a:cubicBezTo>
                  <a:cubicBezTo>
                    <a:pt x="1433" y="1773"/>
                    <a:pt x="1433" y="1766"/>
                    <a:pt x="1433" y="1759"/>
                  </a:cubicBezTo>
                  <a:cubicBezTo>
                    <a:pt x="1433" y="1699"/>
                    <a:pt x="1385" y="1650"/>
                    <a:pt x="1324" y="1650"/>
                  </a:cubicBezTo>
                  <a:cubicBezTo>
                    <a:pt x="1313" y="1650"/>
                    <a:pt x="1302" y="1652"/>
                    <a:pt x="1292" y="1655"/>
                  </a:cubicBezTo>
                  <a:cubicBezTo>
                    <a:pt x="1209" y="1454"/>
                    <a:pt x="1209" y="1454"/>
                    <a:pt x="1209" y="1454"/>
                  </a:cubicBezTo>
                  <a:cubicBezTo>
                    <a:pt x="1204" y="1457"/>
                    <a:pt x="1198" y="1459"/>
                    <a:pt x="1193" y="1461"/>
                  </a:cubicBezTo>
                  <a:cubicBezTo>
                    <a:pt x="1276" y="1662"/>
                    <a:pt x="1276" y="1662"/>
                    <a:pt x="1276" y="1662"/>
                  </a:cubicBezTo>
                  <a:cubicBezTo>
                    <a:pt x="1240" y="1680"/>
                    <a:pt x="1215" y="1717"/>
                    <a:pt x="1215" y="1759"/>
                  </a:cubicBezTo>
                  <a:cubicBezTo>
                    <a:pt x="1215" y="1786"/>
                    <a:pt x="1224" y="1810"/>
                    <a:pt x="1240" y="1828"/>
                  </a:cubicBezTo>
                  <a:cubicBezTo>
                    <a:pt x="1156" y="1924"/>
                    <a:pt x="1156" y="1924"/>
                    <a:pt x="1156" y="1924"/>
                  </a:cubicBezTo>
                  <a:cubicBezTo>
                    <a:pt x="1135" y="1909"/>
                    <a:pt x="1110" y="1899"/>
                    <a:pt x="1083" y="1897"/>
                  </a:cubicBezTo>
                  <a:cubicBezTo>
                    <a:pt x="1083" y="1484"/>
                    <a:pt x="1083" y="1484"/>
                    <a:pt x="1083" y="1484"/>
                  </a:cubicBezTo>
                  <a:cubicBezTo>
                    <a:pt x="1078" y="1484"/>
                    <a:pt x="1073" y="1484"/>
                    <a:pt x="1068" y="1484"/>
                  </a:cubicBezTo>
                  <a:cubicBezTo>
                    <a:pt x="1063" y="1484"/>
                    <a:pt x="1058" y="1484"/>
                    <a:pt x="1053" y="1484"/>
                  </a:cubicBezTo>
                  <a:cubicBezTo>
                    <a:pt x="1053" y="1897"/>
                    <a:pt x="1053" y="1897"/>
                    <a:pt x="1053" y="1897"/>
                  </a:cubicBezTo>
                  <a:cubicBezTo>
                    <a:pt x="1013" y="1901"/>
                    <a:pt x="977" y="1920"/>
                    <a:pt x="952" y="1950"/>
                  </a:cubicBezTo>
                  <a:cubicBezTo>
                    <a:pt x="871" y="1895"/>
                    <a:pt x="871" y="1895"/>
                    <a:pt x="871" y="1895"/>
                  </a:cubicBezTo>
                  <a:cubicBezTo>
                    <a:pt x="876" y="1883"/>
                    <a:pt x="878" y="1870"/>
                    <a:pt x="878" y="1857"/>
                  </a:cubicBezTo>
                  <a:cubicBezTo>
                    <a:pt x="878" y="1815"/>
                    <a:pt x="855" y="1779"/>
                    <a:pt x="820" y="1760"/>
                  </a:cubicBezTo>
                  <a:cubicBezTo>
                    <a:pt x="944" y="1461"/>
                    <a:pt x="944" y="1461"/>
                    <a:pt x="944" y="1461"/>
                  </a:cubicBezTo>
                  <a:cubicBezTo>
                    <a:pt x="939" y="1459"/>
                    <a:pt x="933" y="1457"/>
                    <a:pt x="928" y="1454"/>
                  </a:cubicBezTo>
                  <a:cubicBezTo>
                    <a:pt x="804" y="1753"/>
                    <a:pt x="804" y="1753"/>
                    <a:pt x="804" y="1753"/>
                  </a:cubicBezTo>
                  <a:cubicBezTo>
                    <a:pt x="793" y="1749"/>
                    <a:pt x="781" y="1747"/>
                    <a:pt x="769" y="1747"/>
                  </a:cubicBezTo>
                  <a:cubicBezTo>
                    <a:pt x="712" y="1747"/>
                    <a:pt x="666" y="1791"/>
                    <a:pt x="660" y="1846"/>
                  </a:cubicBezTo>
                  <a:cubicBezTo>
                    <a:pt x="470" y="1861"/>
                    <a:pt x="470" y="1861"/>
                    <a:pt x="470" y="1861"/>
                  </a:cubicBezTo>
                  <a:cubicBezTo>
                    <a:pt x="466" y="1834"/>
                    <a:pt x="454" y="1810"/>
                    <a:pt x="438" y="1789"/>
                  </a:cubicBezTo>
                  <a:cubicBezTo>
                    <a:pt x="835" y="1393"/>
                    <a:pt x="835" y="1393"/>
                    <a:pt x="835" y="1393"/>
                  </a:cubicBezTo>
                  <a:cubicBezTo>
                    <a:pt x="827" y="1386"/>
                    <a:pt x="820" y="1379"/>
                    <a:pt x="813" y="1372"/>
                  </a:cubicBezTo>
                  <a:cubicBezTo>
                    <a:pt x="417" y="1768"/>
                    <a:pt x="417" y="1768"/>
                    <a:pt x="417" y="1768"/>
                  </a:cubicBezTo>
                  <a:cubicBezTo>
                    <a:pt x="403" y="1756"/>
                    <a:pt x="387" y="1747"/>
                    <a:pt x="369" y="1741"/>
                  </a:cubicBezTo>
                  <a:cubicBezTo>
                    <a:pt x="428" y="1504"/>
                    <a:pt x="428" y="1504"/>
                    <a:pt x="428" y="1504"/>
                  </a:cubicBezTo>
                  <a:cubicBezTo>
                    <a:pt x="434" y="1505"/>
                    <a:pt x="440" y="1505"/>
                    <a:pt x="447" y="1505"/>
                  </a:cubicBezTo>
                  <a:cubicBezTo>
                    <a:pt x="507" y="1505"/>
                    <a:pt x="556" y="1457"/>
                    <a:pt x="556" y="1396"/>
                  </a:cubicBezTo>
                  <a:cubicBezTo>
                    <a:pt x="556" y="1384"/>
                    <a:pt x="554" y="1373"/>
                    <a:pt x="551" y="1362"/>
                  </a:cubicBezTo>
                  <a:cubicBezTo>
                    <a:pt x="752" y="1279"/>
                    <a:pt x="752" y="1279"/>
                    <a:pt x="752" y="1279"/>
                  </a:cubicBezTo>
                  <a:cubicBezTo>
                    <a:pt x="750" y="1273"/>
                    <a:pt x="747" y="1268"/>
                    <a:pt x="745" y="1262"/>
                  </a:cubicBezTo>
                  <a:cubicBezTo>
                    <a:pt x="544" y="1345"/>
                    <a:pt x="544" y="1345"/>
                    <a:pt x="544" y="1345"/>
                  </a:cubicBezTo>
                  <a:cubicBezTo>
                    <a:pt x="525" y="1311"/>
                    <a:pt x="489" y="1287"/>
                    <a:pt x="447" y="1287"/>
                  </a:cubicBezTo>
                  <a:cubicBezTo>
                    <a:pt x="421" y="1287"/>
                    <a:pt x="397" y="1296"/>
                    <a:pt x="379" y="1311"/>
                  </a:cubicBezTo>
                  <a:cubicBezTo>
                    <a:pt x="277" y="1226"/>
                    <a:pt x="277" y="1226"/>
                    <a:pt x="277" y="1226"/>
                  </a:cubicBezTo>
                  <a:cubicBezTo>
                    <a:pt x="292" y="1205"/>
                    <a:pt x="302" y="1180"/>
                    <a:pt x="305" y="1153"/>
                  </a:cubicBezTo>
                  <a:cubicBezTo>
                    <a:pt x="723" y="1153"/>
                    <a:pt x="723" y="1153"/>
                    <a:pt x="723" y="1153"/>
                  </a:cubicBezTo>
                  <a:cubicBezTo>
                    <a:pt x="722" y="1148"/>
                    <a:pt x="722" y="1143"/>
                    <a:pt x="722" y="1138"/>
                  </a:cubicBezTo>
                  <a:cubicBezTo>
                    <a:pt x="722" y="1133"/>
                    <a:pt x="722" y="1128"/>
                    <a:pt x="723" y="1123"/>
                  </a:cubicBezTo>
                  <a:cubicBezTo>
                    <a:pt x="305" y="1123"/>
                    <a:pt x="305" y="1123"/>
                    <a:pt x="305" y="1123"/>
                  </a:cubicBezTo>
                  <a:cubicBezTo>
                    <a:pt x="301" y="1083"/>
                    <a:pt x="281" y="1048"/>
                    <a:pt x="253" y="1023"/>
                  </a:cubicBezTo>
                  <a:cubicBezTo>
                    <a:pt x="312" y="942"/>
                    <a:pt x="312" y="942"/>
                    <a:pt x="312" y="942"/>
                  </a:cubicBezTo>
                  <a:cubicBezTo>
                    <a:pt x="325" y="947"/>
                    <a:pt x="340" y="950"/>
                    <a:pt x="355" y="950"/>
                  </a:cubicBezTo>
                  <a:cubicBezTo>
                    <a:pt x="397" y="950"/>
                    <a:pt x="433" y="927"/>
                    <a:pt x="451" y="892"/>
                  </a:cubicBezTo>
                  <a:cubicBezTo>
                    <a:pt x="745" y="1014"/>
                    <a:pt x="745" y="1014"/>
                    <a:pt x="745" y="1014"/>
                  </a:cubicBezTo>
                  <a:cubicBezTo>
                    <a:pt x="747" y="1008"/>
                    <a:pt x="750" y="1003"/>
                    <a:pt x="752" y="997"/>
                  </a:cubicBezTo>
                  <a:cubicBezTo>
                    <a:pt x="458" y="875"/>
                    <a:pt x="458" y="875"/>
                    <a:pt x="458" y="875"/>
                  </a:cubicBezTo>
                  <a:cubicBezTo>
                    <a:pt x="462" y="865"/>
                    <a:pt x="464" y="853"/>
                    <a:pt x="464" y="841"/>
                  </a:cubicBezTo>
                  <a:cubicBezTo>
                    <a:pt x="464" y="792"/>
                    <a:pt x="431" y="750"/>
                    <a:pt x="386" y="736"/>
                  </a:cubicBezTo>
                  <a:cubicBezTo>
                    <a:pt x="399" y="630"/>
                    <a:pt x="399" y="630"/>
                    <a:pt x="399" y="630"/>
                  </a:cubicBezTo>
                  <a:cubicBezTo>
                    <a:pt x="402" y="630"/>
                    <a:pt x="405" y="631"/>
                    <a:pt x="408" y="631"/>
                  </a:cubicBezTo>
                  <a:cubicBezTo>
                    <a:pt x="445" y="631"/>
                    <a:pt x="479" y="618"/>
                    <a:pt x="505" y="596"/>
                  </a:cubicBezTo>
                  <a:cubicBezTo>
                    <a:pt x="813" y="904"/>
                    <a:pt x="813" y="904"/>
                    <a:pt x="813" y="904"/>
                  </a:cubicBezTo>
                  <a:cubicBezTo>
                    <a:pt x="820" y="897"/>
                    <a:pt x="827" y="889"/>
                    <a:pt x="835" y="883"/>
                  </a:cubicBezTo>
                  <a:cubicBezTo>
                    <a:pt x="527" y="575"/>
                    <a:pt x="527" y="575"/>
                    <a:pt x="527" y="575"/>
                  </a:cubicBezTo>
                  <a:cubicBezTo>
                    <a:pt x="540" y="558"/>
                    <a:pt x="550" y="539"/>
                    <a:pt x="556" y="518"/>
                  </a:cubicBezTo>
                  <a:cubicBezTo>
                    <a:pt x="701" y="530"/>
                    <a:pt x="701" y="530"/>
                    <a:pt x="701" y="530"/>
                  </a:cubicBezTo>
                  <a:cubicBezTo>
                    <a:pt x="706" y="587"/>
                    <a:pt x="753" y="631"/>
                    <a:pt x="810" y="631"/>
                  </a:cubicBezTo>
                  <a:cubicBezTo>
                    <a:pt x="823" y="631"/>
                    <a:pt x="835" y="628"/>
                    <a:pt x="846" y="624"/>
                  </a:cubicBezTo>
                  <a:cubicBezTo>
                    <a:pt x="928" y="822"/>
                    <a:pt x="928" y="822"/>
                    <a:pt x="928" y="822"/>
                  </a:cubicBezTo>
                  <a:cubicBezTo>
                    <a:pt x="933" y="819"/>
                    <a:pt x="939" y="817"/>
                    <a:pt x="944" y="815"/>
                  </a:cubicBezTo>
                  <a:cubicBezTo>
                    <a:pt x="863" y="617"/>
                    <a:pt x="863" y="617"/>
                    <a:pt x="863" y="617"/>
                  </a:cubicBezTo>
                  <a:cubicBezTo>
                    <a:pt x="896" y="599"/>
                    <a:pt x="919" y="563"/>
                    <a:pt x="919" y="521"/>
                  </a:cubicBezTo>
                  <a:cubicBezTo>
                    <a:pt x="919" y="491"/>
                    <a:pt x="907" y="464"/>
                    <a:pt x="887" y="444"/>
                  </a:cubicBezTo>
                  <a:cubicBezTo>
                    <a:pt x="996" y="287"/>
                    <a:pt x="996" y="287"/>
                    <a:pt x="996" y="287"/>
                  </a:cubicBezTo>
                  <a:cubicBezTo>
                    <a:pt x="1013" y="297"/>
                    <a:pt x="1033" y="303"/>
                    <a:pt x="1053" y="305"/>
                  </a:cubicBezTo>
                  <a:cubicBezTo>
                    <a:pt x="1053" y="792"/>
                    <a:pt x="1053" y="792"/>
                    <a:pt x="1053" y="792"/>
                  </a:cubicBezTo>
                  <a:cubicBezTo>
                    <a:pt x="1058" y="792"/>
                    <a:pt x="1063" y="792"/>
                    <a:pt x="1068" y="792"/>
                  </a:cubicBezTo>
                  <a:cubicBezTo>
                    <a:pt x="1073" y="792"/>
                    <a:pt x="1078" y="792"/>
                    <a:pt x="1083" y="792"/>
                  </a:cubicBezTo>
                  <a:cubicBezTo>
                    <a:pt x="1083" y="305"/>
                    <a:pt x="1083" y="305"/>
                    <a:pt x="1083" y="305"/>
                  </a:cubicBezTo>
                  <a:cubicBezTo>
                    <a:pt x="1112" y="302"/>
                    <a:pt x="1138" y="292"/>
                    <a:pt x="1159" y="276"/>
                  </a:cubicBezTo>
                  <a:cubicBezTo>
                    <a:pt x="1266" y="373"/>
                    <a:pt x="1266" y="373"/>
                    <a:pt x="1266" y="373"/>
                  </a:cubicBezTo>
                  <a:cubicBezTo>
                    <a:pt x="1258" y="388"/>
                    <a:pt x="1253" y="406"/>
                    <a:pt x="1253" y="424"/>
                  </a:cubicBezTo>
                  <a:cubicBezTo>
                    <a:pt x="1253" y="467"/>
                    <a:pt x="1278" y="504"/>
                    <a:pt x="1314" y="522"/>
                  </a:cubicBezTo>
                  <a:cubicBezTo>
                    <a:pt x="1193" y="815"/>
                    <a:pt x="1193" y="815"/>
                    <a:pt x="1193" y="815"/>
                  </a:cubicBezTo>
                  <a:cubicBezTo>
                    <a:pt x="1198" y="817"/>
                    <a:pt x="1204" y="819"/>
                    <a:pt x="1209" y="822"/>
                  </a:cubicBezTo>
                  <a:cubicBezTo>
                    <a:pt x="1331" y="529"/>
                    <a:pt x="1331" y="529"/>
                    <a:pt x="1331" y="529"/>
                  </a:cubicBezTo>
                  <a:cubicBezTo>
                    <a:pt x="1341" y="532"/>
                    <a:pt x="1351" y="533"/>
                    <a:pt x="1363" y="533"/>
                  </a:cubicBezTo>
                  <a:cubicBezTo>
                    <a:pt x="1409" y="533"/>
                    <a:pt x="1448" y="505"/>
                    <a:pt x="1464" y="464"/>
                  </a:cubicBezTo>
                  <a:cubicBezTo>
                    <a:pt x="1559" y="472"/>
                    <a:pt x="1559" y="472"/>
                    <a:pt x="1559" y="472"/>
                  </a:cubicBezTo>
                  <a:cubicBezTo>
                    <a:pt x="1558" y="477"/>
                    <a:pt x="1558" y="483"/>
                    <a:pt x="1558" y="488"/>
                  </a:cubicBezTo>
                  <a:cubicBezTo>
                    <a:pt x="1558" y="527"/>
                    <a:pt x="1572" y="562"/>
                    <a:pt x="1596" y="589"/>
                  </a:cubicBezTo>
                  <a:cubicBezTo>
                    <a:pt x="1302" y="883"/>
                    <a:pt x="1302" y="883"/>
                    <a:pt x="1302" y="883"/>
                  </a:cubicBezTo>
                  <a:cubicBezTo>
                    <a:pt x="1310" y="889"/>
                    <a:pt x="1317" y="897"/>
                    <a:pt x="1324" y="904"/>
                  </a:cubicBezTo>
                  <a:cubicBezTo>
                    <a:pt x="1618" y="610"/>
                    <a:pt x="1618" y="610"/>
                    <a:pt x="1618" y="610"/>
                  </a:cubicBezTo>
                  <a:cubicBezTo>
                    <a:pt x="1639" y="625"/>
                    <a:pt x="1664" y="636"/>
                    <a:pt x="1691" y="640"/>
                  </a:cubicBezTo>
                  <a:cubicBezTo>
                    <a:pt x="1678" y="771"/>
                    <a:pt x="1678" y="771"/>
                    <a:pt x="1678" y="771"/>
                  </a:cubicBezTo>
                  <a:cubicBezTo>
                    <a:pt x="1623" y="777"/>
                    <a:pt x="1581" y="823"/>
                    <a:pt x="1581" y="879"/>
                  </a:cubicBezTo>
                  <a:cubicBezTo>
                    <a:pt x="1581" y="891"/>
                    <a:pt x="1583" y="903"/>
                    <a:pt x="1586" y="914"/>
                  </a:cubicBezTo>
                  <a:cubicBezTo>
                    <a:pt x="1385" y="997"/>
                    <a:pt x="1385" y="997"/>
                    <a:pt x="1385" y="997"/>
                  </a:cubicBezTo>
                  <a:cubicBezTo>
                    <a:pt x="1387" y="1003"/>
                    <a:pt x="1390" y="1008"/>
                    <a:pt x="1392" y="1014"/>
                  </a:cubicBezTo>
                  <a:cubicBezTo>
                    <a:pt x="1593" y="930"/>
                    <a:pt x="1593" y="930"/>
                    <a:pt x="1593" y="930"/>
                  </a:cubicBezTo>
                  <a:cubicBezTo>
                    <a:pt x="1612" y="965"/>
                    <a:pt x="1648" y="989"/>
                    <a:pt x="1690" y="989"/>
                  </a:cubicBezTo>
                  <a:cubicBezTo>
                    <a:pt x="1719" y="989"/>
                    <a:pt x="1745" y="978"/>
                    <a:pt x="1764" y="960"/>
                  </a:cubicBezTo>
                  <a:cubicBezTo>
                    <a:pt x="1983" y="1078"/>
                    <a:pt x="1983" y="1078"/>
                    <a:pt x="1983" y="1078"/>
                  </a:cubicBezTo>
                  <a:cubicBezTo>
                    <a:pt x="1978" y="1092"/>
                    <a:pt x="1974" y="1107"/>
                    <a:pt x="1973" y="1123"/>
                  </a:cubicBezTo>
                  <a:cubicBezTo>
                    <a:pt x="1414" y="1123"/>
                    <a:pt x="1414" y="1123"/>
                    <a:pt x="1414" y="1123"/>
                  </a:cubicBezTo>
                  <a:cubicBezTo>
                    <a:pt x="1415" y="1128"/>
                    <a:pt x="1415" y="1133"/>
                    <a:pt x="1415" y="1138"/>
                  </a:cubicBezTo>
                  <a:cubicBezTo>
                    <a:pt x="1415" y="1143"/>
                    <a:pt x="1415" y="1148"/>
                    <a:pt x="1414" y="1153"/>
                  </a:cubicBezTo>
                  <a:cubicBezTo>
                    <a:pt x="1973" y="1153"/>
                    <a:pt x="1973" y="1153"/>
                    <a:pt x="1973" y="1153"/>
                  </a:cubicBezTo>
                  <a:cubicBezTo>
                    <a:pt x="1978" y="1193"/>
                    <a:pt x="1998" y="1229"/>
                    <a:pt x="2028" y="1253"/>
                  </a:cubicBezTo>
                  <a:lnTo>
                    <a:pt x="1940" y="1369"/>
                  </a:lnTo>
                  <a:close/>
                  <a:moveTo>
                    <a:pt x="1350" y="1031"/>
                  </a:moveTo>
                  <a:cubicBezTo>
                    <a:pt x="1348" y="1025"/>
                    <a:pt x="1345" y="1020"/>
                    <a:pt x="1343" y="1014"/>
                  </a:cubicBezTo>
                  <a:cubicBezTo>
                    <a:pt x="1330" y="985"/>
                    <a:pt x="1313" y="959"/>
                    <a:pt x="1292" y="936"/>
                  </a:cubicBezTo>
                  <a:cubicBezTo>
                    <a:pt x="1285" y="928"/>
                    <a:pt x="1278" y="921"/>
                    <a:pt x="1270" y="915"/>
                  </a:cubicBezTo>
                  <a:cubicBezTo>
                    <a:pt x="1247" y="894"/>
                    <a:pt x="1221" y="876"/>
                    <a:pt x="1192" y="863"/>
                  </a:cubicBezTo>
                  <a:cubicBezTo>
                    <a:pt x="1186" y="861"/>
                    <a:pt x="1181" y="858"/>
                    <a:pt x="1175" y="856"/>
                  </a:cubicBezTo>
                  <a:cubicBezTo>
                    <a:pt x="1147" y="845"/>
                    <a:pt x="1116" y="839"/>
                    <a:pt x="1083" y="837"/>
                  </a:cubicBezTo>
                  <a:cubicBezTo>
                    <a:pt x="1079" y="837"/>
                    <a:pt x="1073" y="837"/>
                    <a:pt x="1068" y="837"/>
                  </a:cubicBezTo>
                  <a:cubicBezTo>
                    <a:pt x="1063" y="837"/>
                    <a:pt x="1058" y="837"/>
                    <a:pt x="1053" y="837"/>
                  </a:cubicBezTo>
                  <a:cubicBezTo>
                    <a:pt x="1021" y="839"/>
                    <a:pt x="990" y="845"/>
                    <a:pt x="962" y="856"/>
                  </a:cubicBezTo>
                  <a:cubicBezTo>
                    <a:pt x="956" y="858"/>
                    <a:pt x="950" y="861"/>
                    <a:pt x="945" y="863"/>
                  </a:cubicBezTo>
                  <a:cubicBezTo>
                    <a:pt x="916" y="876"/>
                    <a:pt x="890" y="894"/>
                    <a:pt x="866" y="915"/>
                  </a:cubicBezTo>
                  <a:cubicBezTo>
                    <a:pt x="859" y="921"/>
                    <a:pt x="852" y="928"/>
                    <a:pt x="845" y="936"/>
                  </a:cubicBezTo>
                  <a:cubicBezTo>
                    <a:pt x="824" y="959"/>
                    <a:pt x="807" y="985"/>
                    <a:pt x="794" y="1014"/>
                  </a:cubicBezTo>
                  <a:cubicBezTo>
                    <a:pt x="791" y="1020"/>
                    <a:pt x="789" y="1025"/>
                    <a:pt x="787" y="1031"/>
                  </a:cubicBezTo>
                  <a:cubicBezTo>
                    <a:pt x="776" y="1060"/>
                    <a:pt x="769" y="1091"/>
                    <a:pt x="768" y="1123"/>
                  </a:cubicBezTo>
                  <a:cubicBezTo>
                    <a:pt x="767" y="1128"/>
                    <a:pt x="767" y="1133"/>
                    <a:pt x="767" y="1138"/>
                  </a:cubicBezTo>
                  <a:cubicBezTo>
                    <a:pt x="767" y="1143"/>
                    <a:pt x="767" y="1148"/>
                    <a:pt x="768" y="1153"/>
                  </a:cubicBezTo>
                  <a:cubicBezTo>
                    <a:pt x="769" y="1185"/>
                    <a:pt x="776" y="1216"/>
                    <a:pt x="787" y="1245"/>
                  </a:cubicBezTo>
                  <a:cubicBezTo>
                    <a:pt x="789" y="1250"/>
                    <a:pt x="791" y="1256"/>
                    <a:pt x="794" y="1261"/>
                  </a:cubicBezTo>
                  <a:cubicBezTo>
                    <a:pt x="807" y="1290"/>
                    <a:pt x="824" y="1317"/>
                    <a:pt x="845" y="1340"/>
                  </a:cubicBezTo>
                  <a:cubicBezTo>
                    <a:pt x="852" y="1347"/>
                    <a:pt x="859" y="1354"/>
                    <a:pt x="866" y="1361"/>
                  </a:cubicBezTo>
                  <a:cubicBezTo>
                    <a:pt x="890" y="1382"/>
                    <a:pt x="916" y="1399"/>
                    <a:pt x="945" y="1412"/>
                  </a:cubicBezTo>
                  <a:cubicBezTo>
                    <a:pt x="950" y="1415"/>
                    <a:pt x="956" y="1417"/>
                    <a:pt x="962" y="1419"/>
                  </a:cubicBezTo>
                  <a:cubicBezTo>
                    <a:pt x="990" y="1430"/>
                    <a:pt x="1021" y="1437"/>
                    <a:pt x="1053" y="1439"/>
                  </a:cubicBezTo>
                  <a:cubicBezTo>
                    <a:pt x="1058" y="1439"/>
                    <a:pt x="1063" y="1439"/>
                    <a:pt x="1068" y="1439"/>
                  </a:cubicBezTo>
                  <a:cubicBezTo>
                    <a:pt x="1073" y="1439"/>
                    <a:pt x="1079" y="1439"/>
                    <a:pt x="1083" y="1439"/>
                  </a:cubicBezTo>
                  <a:cubicBezTo>
                    <a:pt x="1116" y="1437"/>
                    <a:pt x="1147" y="1430"/>
                    <a:pt x="1175" y="1419"/>
                  </a:cubicBezTo>
                  <a:cubicBezTo>
                    <a:pt x="1181" y="1417"/>
                    <a:pt x="1186" y="1415"/>
                    <a:pt x="1192" y="1412"/>
                  </a:cubicBezTo>
                  <a:cubicBezTo>
                    <a:pt x="1221" y="1399"/>
                    <a:pt x="1247" y="1382"/>
                    <a:pt x="1270" y="1361"/>
                  </a:cubicBezTo>
                  <a:cubicBezTo>
                    <a:pt x="1278" y="1354"/>
                    <a:pt x="1285" y="1347"/>
                    <a:pt x="1292" y="1340"/>
                  </a:cubicBezTo>
                  <a:cubicBezTo>
                    <a:pt x="1313" y="1317"/>
                    <a:pt x="1330" y="1290"/>
                    <a:pt x="1343" y="1261"/>
                  </a:cubicBezTo>
                  <a:cubicBezTo>
                    <a:pt x="1345" y="1256"/>
                    <a:pt x="1348" y="1250"/>
                    <a:pt x="1350" y="1245"/>
                  </a:cubicBezTo>
                  <a:cubicBezTo>
                    <a:pt x="1361" y="1216"/>
                    <a:pt x="1368" y="1185"/>
                    <a:pt x="1369" y="1153"/>
                  </a:cubicBezTo>
                  <a:cubicBezTo>
                    <a:pt x="1369" y="1148"/>
                    <a:pt x="1370" y="1143"/>
                    <a:pt x="1370" y="1138"/>
                  </a:cubicBezTo>
                  <a:cubicBezTo>
                    <a:pt x="1370" y="1133"/>
                    <a:pt x="1369" y="1128"/>
                    <a:pt x="1369" y="1123"/>
                  </a:cubicBezTo>
                  <a:cubicBezTo>
                    <a:pt x="1368" y="1091"/>
                    <a:pt x="1361" y="1060"/>
                    <a:pt x="1350" y="10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7" name="Group 16"/>
          <p:cNvGrpSpPr/>
          <p:nvPr userDrawn="1"/>
        </p:nvGrpSpPr>
        <p:grpSpPr>
          <a:xfrm>
            <a:off x="4533841" y="682758"/>
            <a:ext cx="3040219" cy="355306"/>
            <a:chOff x="4535612" y="682600"/>
            <a:chExt cx="3041407" cy="355224"/>
          </a:xfrm>
        </p:grpSpPr>
        <p:sp>
          <p:nvSpPr>
            <p:cNvPr id="57" name="Rectangle 56"/>
            <p:cNvSpPr/>
            <p:nvPr userDrawn="1"/>
          </p:nvSpPr>
          <p:spPr bwMode="auto">
            <a:xfrm>
              <a:off x="4535612" y="682600"/>
              <a:ext cx="3041407" cy="35522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99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My Work </a:t>
              </a:r>
            </a:p>
          </p:txBody>
        </p:sp>
        <p:sp>
          <p:nvSpPr>
            <p:cNvPr id="105" name="Freeform 81"/>
            <p:cNvSpPr>
              <a:spLocks noChangeAspect="1"/>
            </p:cNvSpPr>
            <p:nvPr userDrawn="1"/>
          </p:nvSpPr>
          <p:spPr bwMode="black">
            <a:xfrm>
              <a:off x="4656988" y="704764"/>
              <a:ext cx="228327" cy="310896"/>
            </a:xfrm>
            <a:custGeom>
              <a:avLst/>
              <a:gdLst>
                <a:gd name="T0" fmla="*/ 230 w 256"/>
                <a:gd name="T1" fmla="*/ 221 h 349"/>
                <a:gd name="T2" fmla="*/ 256 w 256"/>
                <a:gd name="T3" fmla="*/ 202 h 349"/>
                <a:gd name="T4" fmla="*/ 232 w 256"/>
                <a:gd name="T5" fmla="*/ 184 h 349"/>
                <a:gd name="T6" fmla="*/ 239 w 256"/>
                <a:gd name="T7" fmla="*/ 170 h 349"/>
                <a:gd name="T8" fmla="*/ 217 w 256"/>
                <a:gd name="T9" fmla="*/ 152 h 349"/>
                <a:gd name="T10" fmla="*/ 187 w 256"/>
                <a:gd name="T11" fmla="*/ 152 h 349"/>
                <a:gd name="T12" fmla="*/ 187 w 256"/>
                <a:gd name="T13" fmla="*/ 91 h 349"/>
                <a:gd name="T14" fmla="*/ 217 w 256"/>
                <a:gd name="T15" fmla="*/ 45 h 349"/>
                <a:gd name="T16" fmla="*/ 203 w 256"/>
                <a:gd name="T17" fmla="*/ 10 h 349"/>
                <a:gd name="T18" fmla="*/ 166 w 256"/>
                <a:gd name="T19" fmla="*/ 58 h 349"/>
                <a:gd name="T20" fmla="*/ 130 w 256"/>
                <a:gd name="T21" fmla="*/ 10 h 349"/>
                <a:gd name="T22" fmla="*/ 116 w 256"/>
                <a:gd name="T23" fmla="*/ 45 h 349"/>
                <a:gd name="T24" fmla="*/ 146 w 256"/>
                <a:gd name="T25" fmla="*/ 91 h 349"/>
                <a:gd name="T26" fmla="*/ 146 w 256"/>
                <a:gd name="T27" fmla="*/ 121 h 349"/>
                <a:gd name="T28" fmla="*/ 143 w 256"/>
                <a:gd name="T29" fmla="*/ 119 h 349"/>
                <a:gd name="T30" fmla="*/ 99 w 256"/>
                <a:gd name="T31" fmla="*/ 126 h 349"/>
                <a:gd name="T32" fmla="*/ 45 w 256"/>
                <a:gd name="T33" fmla="*/ 162 h 349"/>
                <a:gd name="T34" fmla="*/ 0 w 256"/>
                <a:gd name="T35" fmla="*/ 162 h 349"/>
                <a:gd name="T36" fmla="*/ 0 w 256"/>
                <a:gd name="T37" fmla="*/ 272 h 349"/>
                <a:gd name="T38" fmla="*/ 70 w 256"/>
                <a:gd name="T39" fmla="*/ 277 h 349"/>
                <a:gd name="T40" fmla="*/ 132 w 256"/>
                <a:gd name="T41" fmla="*/ 286 h 349"/>
                <a:gd name="T42" fmla="*/ 127 w 256"/>
                <a:gd name="T43" fmla="*/ 273 h 349"/>
                <a:gd name="T44" fmla="*/ 139 w 256"/>
                <a:gd name="T45" fmla="*/ 255 h 349"/>
                <a:gd name="T46" fmla="*/ 125 w 256"/>
                <a:gd name="T47" fmla="*/ 237 h 349"/>
                <a:gd name="T48" fmla="*/ 140 w 256"/>
                <a:gd name="T49" fmla="*/ 219 h 349"/>
                <a:gd name="T50" fmla="*/ 125 w 256"/>
                <a:gd name="T51" fmla="*/ 201 h 349"/>
                <a:gd name="T52" fmla="*/ 138 w 256"/>
                <a:gd name="T53" fmla="*/ 185 h 349"/>
                <a:gd name="T54" fmla="*/ 125 w 256"/>
                <a:gd name="T55" fmla="*/ 167 h 349"/>
                <a:gd name="T56" fmla="*/ 146 w 256"/>
                <a:gd name="T57" fmla="*/ 148 h 349"/>
                <a:gd name="T58" fmla="*/ 146 w 256"/>
                <a:gd name="T59" fmla="*/ 155 h 349"/>
                <a:gd name="T60" fmla="*/ 137 w 256"/>
                <a:gd name="T61" fmla="*/ 170 h 349"/>
                <a:gd name="T62" fmla="*/ 146 w 256"/>
                <a:gd name="T63" fmla="*/ 185 h 349"/>
                <a:gd name="T64" fmla="*/ 146 w 256"/>
                <a:gd name="T65" fmla="*/ 188 h 349"/>
                <a:gd name="T66" fmla="*/ 137 w 256"/>
                <a:gd name="T67" fmla="*/ 202 h 349"/>
                <a:gd name="T68" fmla="*/ 146 w 256"/>
                <a:gd name="T69" fmla="*/ 216 h 349"/>
                <a:gd name="T70" fmla="*/ 146 w 256"/>
                <a:gd name="T71" fmla="*/ 224 h 349"/>
                <a:gd name="T72" fmla="*/ 137 w 256"/>
                <a:gd name="T73" fmla="*/ 239 h 349"/>
                <a:gd name="T74" fmla="*/ 146 w 256"/>
                <a:gd name="T75" fmla="*/ 254 h 349"/>
                <a:gd name="T76" fmla="*/ 146 w 256"/>
                <a:gd name="T77" fmla="*/ 261 h 349"/>
                <a:gd name="T78" fmla="*/ 139 w 256"/>
                <a:gd name="T79" fmla="*/ 276 h 349"/>
                <a:gd name="T80" fmla="*/ 146 w 256"/>
                <a:gd name="T81" fmla="*/ 291 h 349"/>
                <a:gd name="T82" fmla="*/ 146 w 256"/>
                <a:gd name="T83" fmla="*/ 324 h 349"/>
                <a:gd name="T84" fmla="*/ 167 w 256"/>
                <a:gd name="T85" fmla="*/ 349 h 349"/>
                <a:gd name="T86" fmla="*/ 187 w 256"/>
                <a:gd name="T87" fmla="*/ 324 h 349"/>
                <a:gd name="T88" fmla="*/ 187 w 256"/>
                <a:gd name="T89" fmla="*/ 294 h 349"/>
                <a:gd name="T90" fmla="*/ 207 w 256"/>
                <a:gd name="T91" fmla="*/ 294 h 349"/>
                <a:gd name="T92" fmla="*/ 226 w 256"/>
                <a:gd name="T93" fmla="*/ 276 h 349"/>
                <a:gd name="T94" fmla="*/ 207 w 256"/>
                <a:gd name="T95" fmla="*/ 257 h 349"/>
                <a:gd name="T96" fmla="*/ 187 w 256"/>
                <a:gd name="T97" fmla="*/ 257 h 349"/>
                <a:gd name="T98" fmla="*/ 187 w 256"/>
                <a:gd name="T99" fmla="*/ 257 h 349"/>
                <a:gd name="T100" fmla="*/ 217 w 256"/>
                <a:gd name="T101" fmla="*/ 257 h 349"/>
                <a:gd name="T102" fmla="*/ 239 w 256"/>
                <a:gd name="T103" fmla="*/ 239 h 349"/>
                <a:gd name="T104" fmla="*/ 217 w 256"/>
                <a:gd name="T105" fmla="*/ 221 h 349"/>
                <a:gd name="T106" fmla="*/ 187 w 256"/>
                <a:gd name="T107" fmla="*/ 221 h 349"/>
                <a:gd name="T108" fmla="*/ 187 w 256"/>
                <a:gd name="T109" fmla="*/ 221 h 349"/>
                <a:gd name="T110" fmla="*/ 230 w 256"/>
                <a:gd name="T111" fmla="*/ 221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6" h="349">
                  <a:moveTo>
                    <a:pt x="230" y="221"/>
                  </a:moveTo>
                  <a:cubicBezTo>
                    <a:pt x="245" y="221"/>
                    <a:pt x="256" y="212"/>
                    <a:pt x="256" y="202"/>
                  </a:cubicBezTo>
                  <a:cubicBezTo>
                    <a:pt x="256" y="192"/>
                    <a:pt x="245" y="184"/>
                    <a:pt x="232" y="184"/>
                  </a:cubicBezTo>
                  <a:cubicBezTo>
                    <a:pt x="236" y="180"/>
                    <a:pt x="239" y="175"/>
                    <a:pt x="239" y="170"/>
                  </a:cubicBezTo>
                  <a:cubicBezTo>
                    <a:pt x="239" y="160"/>
                    <a:pt x="229" y="152"/>
                    <a:pt x="217" y="152"/>
                  </a:cubicBezTo>
                  <a:cubicBezTo>
                    <a:pt x="187" y="152"/>
                    <a:pt x="187" y="152"/>
                    <a:pt x="187" y="152"/>
                  </a:cubicBezTo>
                  <a:cubicBezTo>
                    <a:pt x="187" y="91"/>
                    <a:pt x="187" y="91"/>
                    <a:pt x="187" y="91"/>
                  </a:cubicBezTo>
                  <a:cubicBezTo>
                    <a:pt x="205" y="83"/>
                    <a:pt x="217" y="66"/>
                    <a:pt x="217" y="45"/>
                  </a:cubicBezTo>
                  <a:cubicBezTo>
                    <a:pt x="217" y="31"/>
                    <a:pt x="203" y="0"/>
                    <a:pt x="203" y="10"/>
                  </a:cubicBezTo>
                  <a:cubicBezTo>
                    <a:pt x="204" y="24"/>
                    <a:pt x="195" y="58"/>
                    <a:pt x="166" y="58"/>
                  </a:cubicBezTo>
                  <a:cubicBezTo>
                    <a:pt x="140" y="58"/>
                    <a:pt x="129" y="30"/>
                    <a:pt x="130" y="10"/>
                  </a:cubicBezTo>
                  <a:cubicBezTo>
                    <a:pt x="130" y="3"/>
                    <a:pt x="116" y="32"/>
                    <a:pt x="116" y="45"/>
                  </a:cubicBezTo>
                  <a:cubicBezTo>
                    <a:pt x="116" y="66"/>
                    <a:pt x="129" y="84"/>
                    <a:pt x="146" y="91"/>
                  </a:cubicBezTo>
                  <a:cubicBezTo>
                    <a:pt x="146" y="121"/>
                    <a:pt x="146" y="121"/>
                    <a:pt x="146" y="121"/>
                  </a:cubicBezTo>
                  <a:cubicBezTo>
                    <a:pt x="143" y="119"/>
                    <a:pt x="143" y="119"/>
                    <a:pt x="143" y="119"/>
                  </a:cubicBezTo>
                  <a:cubicBezTo>
                    <a:pt x="143" y="119"/>
                    <a:pt x="110" y="122"/>
                    <a:pt x="99" y="126"/>
                  </a:cubicBezTo>
                  <a:cubicBezTo>
                    <a:pt x="87" y="131"/>
                    <a:pt x="63" y="162"/>
                    <a:pt x="45" y="162"/>
                  </a:cubicBezTo>
                  <a:cubicBezTo>
                    <a:pt x="26" y="162"/>
                    <a:pt x="0" y="162"/>
                    <a:pt x="0" y="162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0" y="272"/>
                    <a:pt x="47" y="272"/>
                    <a:pt x="70" y="277"/>
                  </a:cubicBezTo>
                  <a:cubicBezTo>
                    <a:pt x="86" y="280"/>
                    <a:pt x="110" y="284"/>
                    <a:pt x="132" y="286"/>
                  </a:cubicBezTo>
                  <a:cubicBezTo>
                    <a:pt x="129" y="283"/>
                    <a:pt x="127" y="278"/>
                    <a:pt x="127" y="273"/>
                  </a:cubicBezTo>
                  <a:cubicBezTo>
                    <a:pt x="127" y="265"/>
                    <a:pt x="132" y="258"/>
                    <a:pt x="139" y="255"/>
                  </a:cubicBezTo>
                  <a:cubicBezTo>
                    <a:pt x="131" y="252"/>
                    <a:pt x="125" y="245"/>
                    <a:pt x="125" y="237"/>
                  </a:cubicBezTo>
                  <a:cubicBezTo>
                    <a:pt x="125" y="229"/>
                    <a:pt x="131" y="222"/>
                    <a:pt x="140" y="219"/>
                  </a:cubicBezTo>
                  <a:cubicBezTo>
                    <a:pt x="131" y="216"/>
                    <a:pt x="125" y="209"/>
                    <a:pt x="125" y="201"/>
                  </a:cubicBezTo>
                  <a:cubicBezTo>
                    <a:pt x="125" y="194"/>
                    <a:pt x="130" y="188"/>
                    <a:pt x="138" y="185"/>
                  </a:cubicBezTo>
                  <a:cubicBezTo>
                    <a:pt x="130" y="182"/>
                    <a:pt x="125" y="175"/>
                    <a:pt x="125" y="167"/>
                  </a:cubicBezTo>
                  <a:cubicBezTo>
                    <a:pt x="125" y="157"/>
                    <a:pt x="135" y="148"/>
                    <a:pt x="146" y="148"/>
                  </a:cubicBezTo>
                  <a:cubicBezTo>
                    <a:pt x="146" y="155"/>
                    <a:pt x="146" y="155"/>
                    <a:pt x="146" y="155"/>
                  </a:cubicBezTo>
                  <a:cubicBezTo>
                    <a:pt x="141" y="158"/>
                    <a:pt x="137" y="164"/>
                    <a:pt x="137" y="170"/>
                  </a:cubicBezTo>
                  <a:cubicBezTo>
                    <a:pt x="137" y="176"/>
                    <a:pt x="141" y="182"/>
                    <a:pt x="146" y="185"/>
                  </a:cubicBezTo>
                  <a:cubicBezTo>
                    <a:pt x="146" y="188"/>
                    <a:pt x="146" y="188"/>
                    <a:pt x="146" y="188"/>
                  </a:cubicBezTo>
                  <a:cubicBezTo>
                    <a:pt x="141" y="191"/>
                    <a:pt x="137" y="196"/>
                    <a:pt x="137" y="202"/>
                  </a:cubicBezTo>
                  <a:cubicBezTo>
                    <a:pt x="137" y="208"/>
                    <a:pt x="141" y="213"/>
                    <a:pt x="146" y="216"/>
                  </a:cubicBezTo>
                  <a:cubicBezTo>
                    <a:pt x="146" y="224"/>
                    <a:pt x="146" y="224"/>
                    <a:pt x="146" y="224"/>
                  </a:cubicBezTo>
                  <a:cubicBezTo>
                    <a:pt x="141" y="227"/>
                    <a:pt x="137" y="233"/>
                    <a:pt x="137" y="239"/>
                  </a:cubicBezTo>
                  <a:cubicBezTo>
                    <a:pt x="137" y="245"/>
                    <a:pt x="141" y="251"/>
                    <a:pt x="146" y="254"/>
                  </a:cubicBezTo>
                  <a:cubicBezTo>
                    <a:pt x="146" y="261"/>
                    <a:pt x="146" y="261"/>
                    <a:pt x="146" y="261"/>
                  </a:cubicBezTo>
                  <a:cubicBezTo>
                    <a:pt x="142" y="264"/>
                    <a:pt x="139" y="270"/>
                    <a:pt x="139" y="276"/>
                  </a:cubicBezTo>
                  <a:cubicBezTo>
                    <a:pt x="139" y="282"/>
                    <a:pt x="142" y="287"/>
                    <a:pt x="146" y="291"/>
                  </a:cubicBezTo>
                  <a:cubicBezTo>
                    <a:pt x="146" y="324"/>
                    <a:pt x="146" y="324"/>
                    <a:pt x="146" y="324"/>
                  </a:cubicBezTo>
                  <a:cubicBezTo>
                    <a:pt x="146" y="338"/>
                    <a:pt x="156" y="349"/>
                    <a:pt x="167" y="349"/>
                  </a:cubicBezTo>
                  <a:cubicBezTo>
                    <a:pt x="178" y="349"/>
                    <a:pt x="187" y="338"/>
                    <a:pt x="187" y="324"/>
                  </a:cubicBezTo>
                  <a:cubicBezTo>
                    <a:pt x="187" y="294"/>
                    <a:pt x="187" y="294"/>
                    <a:pt x="187" y="294"/>
                  </a:cubicBezTo>
                  <a:cubicBezTo>
                    <a:pt x="207" y="294"/>
                    <a:pt x="207" y="294"/>
                    <a:pt x="207" y="294"/>
                  </a:cubicBezTo>
                  <a:cubicBezTo>
                    <a:pt x="217" y="294"/>
                    <a:pt x="226" y="286"/>
                    <a:pt x="226" y="276"/>
                  </a:cubicBezTo>
                  <a:cubicBezTo>
                    <a:pt x="226" y="266"/>
                    <a:pt x="217" y="257"/>
                    <a:pt x="207" y="257"/>
                  </a:cubicBezTo>
                  <a:cubicBezTo>
                    <a:pt x="187" y="257"/>
                    <a:pt x="187" y="257"/>
                    <a:pt x="187" y="257"/>
                  </a:cubicBezTo>
                  <a:cubicBezTo>
                    <a:pt x="187" y="257"/>
                    <a:pt x="187" y="257"/>
                    <a:pt x="187" y="257"/>
                  </a:cubicBezTo>
                  <a:cubicBezTo>
                    <a:pt x="217" y="257"/>
                    <a:pt x="217" y="257"/>
                    <a:pt x="217" y="257"/>
                  </a:cubicBezTo>
                  <a:cubicBezTo>
                    <a:pt x="229" y="257"/>
                    <a:pt x="239" y="249"/>
                    <a:pt x="239" y="239"/>
                  </a:cubicBezTo>
                  <a:cubicBezTo>
                    <a:pt x="239" y="229"/>
                    <a:pt x="229" y="221"/>
                    <a:pt x="217" y="221"/>
                  </a:cubicBezTo>
                  <a:cubicBezTo>
                    <a:pt x="187" y="221"/>
                    <a:pt x="187" y="221"/>
                    <a:pt x="187" y="221"/>
                  </a:cubicBezTo>
                  <a:cubicBezTo>
                    <a:pt x="187" y="221"/>
                    <a:pt x="187" y="221"/>
                    <a:pt x="187" y="221"/>
                  </a:cubicBezTo>
                  <a:lnTo>
                    <a:pt x="230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9" name="Group 28"/>
          <p:cNvGrpSpPr/>
          <p:nvPr userDrawn="1"/>
        </p:nvGrpSpPr>
        <p:grpSpPr>
          <a:xfrm>
            <a:off x="4533841" y="5084173"/>
            <a:ext cx="3040219" cy="355306"/>
            <a:chOff x="4535612" y="5311596"/>
            <a:chExt cx="3041407" cy="355224"/>
          </a:xfrm>
        </p:grpSpPr>
        <p:sp>
          <p:nvSpPr>
            <p:cNvPr id="86" name="Rectangle 85"/>
            <p:cNvSpPr/>
            <p:nvPr userDrawn="1"/>
          </p:nvSpPr>
          <p:spPr bwMode="auto">
            <a:xfrm>
              <a:off x="4535612" y="5311596"/>
              <a:ext cx="3041407" cy="355224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45720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73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99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My Content</a:t>
              </a:r>
            </a:p>
          </p:txBody>
        </p:sp>
        <p:sp>
          <p:nvSpPr>
            <p:cNvPr id="106" name="Freeform 128"/>
            <p:cNvSpPr>
              <a:spLocks noChangeAspect="1" noEditPoints="1"/>
            </p:cNvSpPr>
            <p:nvPr userDrawn="1"/>
          </p:nvSpPr>
          <p:spPr bwMode="black">
            <a:xfrm>
              <a:off x="4633992" y="5355624"/>
              <a:ext cx="274320" cy="241494"/>
            </a:xfrm>
            <a:custGeom>
              <a:avLst/>
              <a:gdLst>
                <a:gd name="T0" fmla="*/ 49 w 71"/>
                <a:gd name="T1" fmla="*/ 21 h 62"/>
                <a:gd name="T2" fmla="*/ 49 w 71"/>
                <a:gd name="T3" fmla="*/ 19 h 62"/>
                <a:gd name="T4" fmla="*/ 49 w 71"/>
                <a:gd name="T5" fmla="*/ 19 h 62"/>
                <a:gd name="T6" fmla="*/ 48 w 71"/>
                <a:gd name="T7" fmla="*/ 17 h 62"/>
                <a:gd name="T8" fmla="*/ 32 w 71"/>
                <a:gd name="T9" fmla="*/ 2 h 62"/>
                <a:gd name="T10" fmla="*/ 28 w 71"/>
                <a:gd name="T11" fmla="*/ 0 h 62"/>
                <a:gd name="T12" fmla="*/ 28 w 71"/>
                <a:gd name="T13" fmla="*/ 0 h 62"/>
                <a:gd name="T14" fmla="*/ 28 w 71"/>
                <a:gd name="T15" fmla="*/ 0 h 62"/>
                <a:gd name="T16" fmla="*/ 6 w 71"/>
                <a:gd name="T17" fmla="*/ 0 h 62"/>
                <a:gd name="T18" fmla="*/ 0 w 71"/>
                <a:gd name="T19" fmla="*/ 5 h 62"/>
                <a:gd name="T20" fmla="*/ 0 w 71"/>
                <a:gd name="T21" fmla="*/ 56 h 62"/>
                <a:gd name="T22" fmla="*/ 6 w 71"/>
                <a:gd name="T23" fmla="*/ 62 h 62"/>
                <a:gd name="T24" fmla="*/ 44 w 71"/>
                <a:gd name="T25" fmla="*/ 62 h 62"/>
                <a:gd name="T26" fmla="*/ 50 w 71"/>
                <a:gd name="T27" fmla="*/ 56 h 62"/>
                <a:gd name="T28" fmla="*/ 50 w 71"/>
                <a:gd name="T29" fmla="*/ 21 h 62"/>
                <a:gd name="T30" fmla="*/ 49 w 71"/>
                <a:gd name="T31" fmla="*/ 21 h 62"/>
                <a:gd name="T32" fmla="*/ 28 w 71"/>
                <a:gd name="T33" fmla="*/ 5 h 62"/>
                <a:gd name="T34" fmla="*/ 44 w 71"/>
                <a:gd name="T35" fmla="*/ 21 h 62"/>
                <a:gd name="T36" fmla="*/ 28 w 71"/>
                <a:gd name="T37" fmla="*/ 21 h 62"/>
                <a:gd name="T38" fmla="*/ 28 w 71"/>
                <a:gd name="T39" fmla="*/ 5 h 62"/>
                <a:gd name="T40" fmla="*/ 44 w 71"/>
                <a:gd name="T41" fmla="*/ 56 h 62"/>
                <a:gd name="T42" fmla="*/ 6 w 71"/>
                <a:gd name="T43" fmla="*/ 56 h 62"/>
                <a:gd name="T44" fmla="*/ 6 w 71"/>
                <a:gd name="T45" fmla="*/ 5 h 62"/>
                <a:gd name="T46" fmla="*/ 23 w 71"/>
                <a:gd name="T47" fmla="*/ 5 h 62"/>
                <a:gd name="T48" fmla="*/ 23 w 71"/>
                <a:gd name="T49" fmla="*/ 21 h 62"/>
                <a:gd name="T50" fmla="*/ 28 w 71"/>
                <a:gd name="T51" fmla="*/ 27 h 62"/>
                <a:gd name="T52" fmla="*/ 44 w 71"/>
                <a:gd name="T53" fmla="*/ 27 h 62"/>
                <a:gd name="T54" fmla="*/ 44 w 71"/>
                <a:gd name="T55" fmla="*/ 56 h 62"/>
                <a:gd name="T56" fmla="*/ 58 w 71"/>
                <a:gd name="T57" fmla="*/ 14 h 62"/>
                <a:gd name="T58" fmla="*/ 60 w 71"/>
                <a:gd name="T59" fmla="*/ 19 h 62"/>
                <a:gd name="T60" fmla="*/ 60 w 71"/>
                <a:gd name="T61" fmla="*/ 56 h 62"/>
                <a:gd name="T62" fmla="*/ 55 w 71"/>
                <a:gd name="T63" fmla="*/ 62 h 62"/>
                <a:gd name="T64" fmla="*/ 53 w 71"/>
                <a:gd name="T65" fmla="*/ 62 h 62"/>
                <a:gd name="T66" fmla="*/ 55 w 71"/>
                <a:gd name="T67" fmla="*/ 57 h 62"/>
                <a:gd name="T68" fmla="*/ 55 w 71"/>
                <a:gd name="T69" fmla="*/ 21 h 62"/>
                <a:gd name="T70" fmla="*/ 53 w 71"/>
                <a:gd name="T71" fmla="*/ 15 h 62"/>
                <a:gd name="T72" fmla="*/ 37 w 71"/>
                <a:gd name="T73" fmla="*/ 0 h 62"/>
                <a:gd name="T74" fmla="*/ 37 w 71"/>
                <a:gd name="T75" fmla="*/ 0 h 62"/>
                <a:gd name="T76" fmla="*/ 39 w 71"/>
                <a:gd name="T77" fmla="*/ 0 h 62"/>
                <a:gd name="T78" fmla="*/ 40 w 71"/>
                <a:gd name="T79" fmla="*/ 0 h 62"/>
                <a:gd name="T80" fmla="*/ 47 w 71"/>
                <a:gd name="T81" fmla="*/ 3 h 62"/>
                <a:gd name="T82" fmla="*/ 58 w 71"/>
                <a:gd name="T83" fmla="*/ 14 h 62"/>
                <a:gd name="T84" fmla="*/ 69 w 71"/>
                <a:gd name="T85" fmla="*/ 13 h 62"/>
                <a:gd name="T86" fmla="*/ 71 w 71"/>
                <a:gd name="T87" fmla="*/ 17 h 62"/>
                <a:gd name="T88" fmla="*/ 71 w 71"/>
                <a:gd name="T89" fmla="*/ 56 h 62"/>
                <a:gd name="T90" fmla="*/ 65 w 71"/>
                <a:gd name="T91" fmla="*/ 62 h 62"/>
                <a:gd name="T92" fmla="*/ 64 w 71"/>
                <a:gd name="T93" fmla="*/ 62 h 62"/>
                <a:gd name="T94" fmla="*/ 65 w 71"/>
                <a:gd name="T95" fmla="*/ 57 h 62"/>
                <a:gd name="T96" fmla="*/ 65 w 71"/>
                <a:gd name="T97" fmla="*/ 18 h 62"/>
                <a:gd name="T98" fmla="*/ 64 w 71"/>
                <a:gd name="T99" fmla="*/ 14 h 62"/>
                <a:gd name="T100" fmla="*/ 50 w 71"/>
                <a:gd name="T101" fmla="*/ 0 h 62"/>
                <a:gd name="T102" fmla="*/ 50 w 71"/>
                <a:gd name="T103" fmla="*/ 0 h 62"/>
                <a:gd name="T104" fmla="*/ 51 w 71"/>
                <a:gd name="T105" fmla="*/ 0 h 62"/>
                <a:gd name="T106" fmla="*/ 52 w 71"/>
                <a:gd name="T107" fmla="*/ 0 h 62"/>
                <a:gd name="T108" fmla="*/ 59 w 71"/>
                <a:gd name="T109" fmla="*/ 3 h 62"/>
                <a:gd name="T110" fmla="*/ 69 w 71"/>
                <a:gd name="T111" fmla="*/ 1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1" h="62">
                  <a:moveTo>
                    <a:pt x="49" y="21"/>
                  </a:moveTo>
                  <a:cubicBezTo>
                    <a:pt x="49" y="20"/>
                    <a:pt x="49" y="20"/>
                    <a:pt x="49" y="19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49" y="18"/>
                    <a:pt x="48" y="18"/>
                    <a:pt x="48" y="17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0"/>
                    <a:pt x="30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9"/>
                    <a:pt x="3" y="62"/>
                    <a:pt x="6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7" y="62"/>
                    <a:pt x="50" y="59"/>
                    <a:pt x="50" y="56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1"/>
                    <a:pt x="49" y="21"/>
                    <a:pt x="49" y="21"/>
                  </a:cubicBezTo>
                  <a:close/>
                  <a:moveTo>
                    <a:pt x="28" y="5"/>
                  </a:moveTo>
                  <a:cubicBezTo>
                    <a:pt x="44" y="21"/>
                    <a:pt x="44" y="21"/>
                    <a:pt x="44" y="21"/>
                  </a:cubicBezTo>
                  <a:cubicBezTo>
                    <a:pt x="28" y="21"/>
                    <a:pt x="28" y="21"/>
                    <a:pt x="28" y="21"/>
                  </a:cubicBezTo>
                  <a:lnTo>
                    <a:pt x="28" y="5"/>
                  </a:lnTo>
                  <a:close/>
                  <a:moveTo>
                    <a:pt x="44" y="56"/>
                  </a:moveTo>
                  <a:cubicBezTo>
                    <a:pt x="6" y="56"/>
                    <a:pt x="6" y="56"/>
                    <a:pt x="6" y="5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4"/>
                    <a:pt x="25" y="27"/>
                    <a:pt x="28" y="27"/>
                  </a:cubicBezTo>
                  <a:cubicBezTo>
                    <a:pt x="44" y="27"/>
                    <a:pt x="44" y="27"/>
                    <a:pt x="44" y="27"/>
                  </a:cubicBezTo>
                  <a:lnTo>
                    <a:pt x="44" y="56"/>
                  </a:lnTo>
                  <a:close/>
                  <a:moveTo>
                    <a:pt x="58" y="14"/>
                  </a:moveTo>
                  <a:cubicBezTo>
                    <a:pt x="59" y="15"/>
                    <a:pt x="60" y="17"/>
                    <a:pt x="60" y="19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9"/>
                    <a:pt x="58" y="62"/>
                    <a:pt x="55" y="62"/>
                  </a:cubicBezTo>
                  <a:cubicBezTo>
                    <a:pt x="53" y="62"/>
                    <a:pt x="53" y="62"/>
                    <a:pt x="53" y="62"/>
                  </a:cubicBezTo>
                  <a:cubicBezTo>
                    <a:pt x="54" y="60"/>
                    <a:pt x="55" y="59"/>
                    <a:pt x="55" y="57"/>
                  </a:cubicBezTo>
                  <a:cubicBezTo>
                    <a:pt x="55" y="21"/>
                    <a:pt x="55" y="21"/>
                    <a:pt x="55" y="21"/>
                  </a:cubicBezTo>
                  <a:cubicBezTo>
                    <a:pt x="55" y="19"/>
                    <a:pt x="54" y="17"/>
                    <a:pt x="53" y="15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1" y="0"/>
                    <a:pt x="44" y="0"/>
                    <a:pt x="47" y="3"/>
                  </a:cubicBezTo>
                  <a:cubicBezTo>
                    <a:pt x="58" y="14"/>
                    <a:pt x="58" y="14"/>
                    <a:pt x="58" y="14"/>
                  </a:cubicBezTo>
                  <a:moveTo>
                    <a:pt x="69" y="13"/>
                  </a:moveTo>
                  <a:cubicBezTo>
                    <a:pt x="70" y="14"/>
                    <a:pt x="71" y="16"/>
                    <a:pt x="71" y="17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9"/>
                    <a:pt x="68" y="62"/>
                    <a:pt x="65" y="62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5" y="60"/>
                    <a:pt x="65" y="59"/>
                    <a:pt x="65" y="57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5" y="17"/>
                    <a:pt x="65" y="15"/>
                    <a:pt x="64" y="14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4" y="0"/>
                    <a:pt x="56" y="0"/>
                    <a:pt x="59" y="3"/>
                  </a:cubicBezTo>
                  <a:cubicBezTo>
                    <a:pt x="69" y="13"/>
                    <a:pt x="69" y="13"/>
                    <a:pt x="69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55236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ay/Tomorrow Scenario F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18608" y="6329059"/>
            <a:ext cx="1422570" cy="523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 userDrawn="1"/>
        </p:nvSpPr>
        <p:spPr bwMode="auto">
          <a:xfrm>
            <a:off x="-12629" y="1600570"/>
            <a:ext cx="12199867" cy="27975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00" tIns="45700" rIns="91400" bIns="457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498170" y="1026589"/>
            <a:ext cx="10289174" cy="50139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395"/>
              </a:spcBef>
              <a:buNone/>
              <a:defRPr sz="2799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1399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2pPr>
            <a:lvl3pPr marL="231341" indent="0">
              <a:buNone/>
              <a:defRPr sz="1399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3pPr>
            <a:lvl4pPr marL="456347" indent="0">
              <a:buNone/>
              <a:defRPr sz="1399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4pPr>
            <a:lvl5pPr marL="692444" indent="0">
              <a:buNone/>
              <a:defRPr sz="1399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98170" y="228656"/>
            <a:ext cx="10289174" cy="748070"/>
          </a:xfrm>
        </p:spPr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76306" y="6609729"/>
            <a:ext cx="560613" cy="219507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599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4034"/>
            <a:fld id="{FA4A93B8-B23A-4F35-A6A2-2F1F9227CD90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4034"/>
              <a:t>‹#›</a:t>
            </a:fld>
            <a:endParaRPr lang="en-US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6301322" y="4562623"/>
            <a:ext cx="5182623" cy="436229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3983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Benefit Examples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657944" y="4562623"/>
            <a:ext cx="5178525" cy="436229"/>
          </a:xfrm>
          <a:prstGeom prst="rect">
            <a:avLst/>
          </a:prstGeom>
          <a:solidFill>
            <a:srgbClr val="FF7A4B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3983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373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Pain Point Examples</a:t>
            </a:r>
          </a:p>
        </p:txBody>
      </p:sp>
      <p:sp>
        <p:nvSpPr>
          <p:cNvPr id="49" name="Content Placeholder 47"/>
          <p:cNvSpPr>
            <a:spLocks noGrp="1"/>
          </p:cNvSpPr>
          <p:nvPr userDrawn="1">
            <p:ph sz="quarter" idx="21" hasCustomPrompt="1"/>
          </p:nvPr>
        </p:nvSpPr>
        <p:spPr>
          <a:xfrm>
            <a:off x="6304064" y="5013325"/>
            <a:ext cx="5182623" cy="1742851"/>
          </a:xfrm>
        </p:spPr>
        <p:txBody>
          <a:bodyPr tIns="45720" rIns="45720"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lang="en-US" sz="1200" kern="1200" spc="0" baseline="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1399" kern="1200" spc="0" baseline="0" dirty="0" smtClean="0">
                <a:solidFill>
                  <a:schemeClr val="accent6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14254" indent="0">
              <a:buFontTx/>
              <a:buNone/>
              <a:defRPr sz="1399" spc="0" baseline="0"/>
            </a:lvl3pPr>
            <a:lvl4pPr marL="177729" indent="0">
              <a:buFontTx/>
              <a:buNone/>
              <a:defRPr sz="1200" spc="0" baseline="0"/>
            </a:lvl4pPr>
            <a:lvl5pPr marL="177729" indent="0">
              <a:buFontTx/>
              <a:buNone/>
              <a:defRPr sz="1200" spc="0" baseline="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4" name="Content Placeholder 47"/>
          <p:cNvSpPr>
            <a:spLocks noGrp="1"/>
          </p:cNvSpPr>
          <p:nvPr userDrawn="1">
            <p:ph sz="quarter" idx="22" hasCustomPrompt="1"/>
          </p:nvPr>
        </p:nvSpPr>
        <p:spPr>
          <a:xfrm>
            <a:off x="660684" y="5013325"/>
            <a:ext cx="5182623" cy="1742851"/>
          </a:xfrm>
        </p:spPr>
        <p:txBody>
          <a:bodyPr tIns="45720" rIns="45720"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lang="en-US" sz="1200" kern="1200" spc="0" baseline="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1399" kern="1200" spc="0" baseline="0" dirty="0" smtClean="0">
                <a:solidFill>
                  <a:schemeClr val="accent6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14254" indent="0">
              <a:buFontTx/>
              <a:buNone/>
              <a:defRPr sz="1399" spc="0" baseline="0"/>
            </a:lvl3pPr>
            <a:lvl4pPr marL="177729" indent="0">
              <a:buFontTx/>
              <a:buNone/>
              <a:defRPr sz="1200" spc="0" baseline="0"/>
            </a:lvl4pPr>
            <a:lvl5pPr marL="177729" indent="0">
              <a:buFontTx/>
              <a:buNone/>
              <a:defRPr sz="1200" spc="0" baseline="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Content Placeholder 47"/>
          <p:cNvSpPr>
            <a:spLocks noGrp="1"/>
          </p:cNvSpPr>
          <p:nvPr userDrawn="1">
            <p:ph sz="quarter" idx="26" hasCustomPrompt="1"/>
          </p:nvPr>
        </p:nvSpPr>
        <p:spPr>
          <a:xfrm>
            <a:off x="734114" y="2657865"/>
            <a:ext cx="5178525" cy="1591269"/>
          </a:xfrm>
        </p:spPr>
        <p:txBody>
          <a:bodyPr tIns="45720" rIns="45720"/>
          <a:lstStyle>
            <a:lvl1pPr marL="0" indent="0">
              <a:lnSpc>
                <a:spcPct val="100000"/>
              </a:lnSpc>
              <a:spcBef>
                <a:spcPts val="0"/>
              </a:spcBef>
              <a:buSzPct val="110000"/>
              <a:buFontTx/>
              <a:buNone/>
              <a:defRPr lang="en-US" sz="1399" kern="1200" spc="-71" baseline="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0" indent="0">
              <a:buSzPct val="110000"/>
              <a:buFontTx/>
              <a:buNone/>
              <a:defRPr lang="en-US" sz="1399" kern="1200" spc="-71" baseline="0" dirty="0" smtClean="0">
                <a:solidFill>
                  <a:schemeClr val="accent6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14254" indent="0">
              <a:buSzPct val="110000"/>
              <a:buFontTx/>
              <a:buNone/>
              <a:defRPr sz="1399"/>
            </a:lvl3pPr>
            <a:lvl4pPr marL="177729" indent="0">
              <a:buSzPct val="110000"/>
              <a:buFontTx/>
              <a:buNone/>
              <a:defRPr sz="1399"/>
            </a:lvl4pPr>
            <a:lvl5pPr marL="177729" indent="0">
              <a:buSzPct val="110000"/>
              <a:buFontTx/>
              <a:buNone/>
              <a:defRPr sz="1399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0" name="Content Placeholder 47"/>
          <p:cNvSpPr>
            <a:spLocks noGrp="1"/>
          </p:cNvSpPr>
          <p:nvPr userDrawn="1">
            <p:ph sz="quarter" idx="28" hasCustomPrompt="1"/>
          </p:nvPr>
        </p:nvSpPr>
        <p:spPr>
          <a:xfrm>
            <a:off x="6358450" y="2657865"/>
            <a:ext cx="5178525" cy="1591269"/>
          </a:xfrm>
        </p:spPr>
        <p:txBody>
          <a:bodyPr tIns="45720" rIns="45720"/>
          <a:lstStyle>
            <a:lvl1pPr marL="0" indent="0">
              <a:lnSpc>
                <a:spcPct val="100000"/>
              </a:lnSpc>
              <a:spcBef>
                <a:spcPts val="0"/>
              </a:spcBef>
              <a:buSzPct val="110000"/>
              <a:buFontTx/>
              <a:buNone/>
              <a:defRPr lang="en-US" sz="1399" kern="1200" spc="-71" baseline="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0" indent="0">
              <a:buSzPct val="110000"/>
              <a:buFontTx/>
              <a:buNone/>
              <a:defRPr lang="en-US" sz="1399" kern="1200" spc="-71" baseline="0" dirty="0" smtClean="0">
                <a:solidFill>
                  <a:schemeClr val="accent6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14254" indent="0">
              <a:buSzPct val="110000"/>
              <a:buFontTx/>
              <a:buNone/>
              <a:defRPr sz="1399"/>
            </a:lvl3pPr>
            <a:lvl4pPr marL="177729" indent="0">
              <a:buSzPct val="110000"/>
              <a:buFontTx/>
              <a:buNone/>
              <a:defRPr sz="1399"/>
            </a:lvl4pPr>
            <a:lvl5pPr marL="177729" indent="0">
              <a:buSzPct val="110000"/>
              <a:buFontTx/>
              <a:buNone/>
              <a:defRPr sz="1399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2" name="Rectangle 41"/>
          <p:cNvSpPr/>
          <p:nvPr userDrawn="1"/>
        </p:nvSpPr>
        <p:spPr bwMode="auto">
          <a:xfrm>
            <a:off x="0" y="1587288"/>
            <a:ext cx="12187238" cy="551259"/>
          </a:xfrm>
          <a:prstGeom prst="rect">
            <a:avLst/>
          </a:prstGeom>
          <a:gradFill flip="none" rotWithShape="1">
            <a:gsLst>
              <a:gs pos="0">
                <a:srgbClr val="4882BC"/>
              </a:gs>
              <a:gs pos="100000">
                <a:srgbClr val="C1D5E9">
                  <a:alpha val="34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00" tIns="45700" rIns="91400" bIns="457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1" y="1710564"/>
            <a:ext cx="12187237" cy="3694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0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85526" algn="ctr"/>
                <a:tab pos="5149377" algn="ctr"/>
                <a:tab pos="9597360" algn="ctr"/>
              </a:tabLst>
              <a:defRPr/>
            </a:pP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6293C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	TODAY	</a:t>
            </a: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C2D4E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ANSITION</a:t>
            </a: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6293C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	TOMORROW</a:t>
            </a:r>
          </a:p>
        </p:txBody>
      </p:sp>
      <p:sp>
        <p:nvSpPr>
          <p:cNvPr id="44" name="Freeform 133"/>
          <p:cNvSpPr>
            <a:spLocks noChangeAspect="1"/>
          </p:cNvSpPr>
          <p:nvPr userDrawn="1"/>
        </p:nvSpPr>
        <p:spPr bwMode="black">
          <a:xfrm>
            <a:off x="787634" y="4618613"/>
            <a:ext cx="367770" cy="347552"/>
          </a:xfrm>
          <a:custGeom>
            <a:avLst/>
            <a:gdLst>
              <a:gd name="T0" fmla="*/ 87 w 291"/>
              <a:gd name="T1" fmla="*/ 18 h 275"/>
              <a:gd name="T2" fmla="*/ 96 w 291"/>
              <a:gd name="T3" fmla="*/ 48 h 275"/>
              <a:gd name="T4" fmla="*/ 0 w 291"/>
              <a:gd name="T5" fmla="*/ 140 h 275"/>
              <a:gd name="T6" fmla="*/ 128 w 291"/>
              <a:gd name="T7" fmla="*/ 56 h 275"/>
              <a:gd name="T8" fmla="*/ 201 w 291"/>
              <a:gd name="T9" fmla="*/ 36 h 275"/>
              <a:gd name="T10" fmla="*/ 122 w 291"/>
              <a:gd name="T11" fmla="*/ 198 h 275"/>
              <a:gd name="T12" fmla="*/ 122 w 291"/>
              <a:gd name="T13" fmla="*/ 195 h 275"/>
              <a:gd name="T14" fmla="*/ 122 w 291"/>
              <a:gd name="T15" fmla="*/ 192 h 275"/>
              <a:gd name="T16" fmla="*/ 122 w 291"/>
              <a:gd name="T17" fmla="*/ 189 h 275"/>
              <a:gd name="T18" fmla="*/ 122 w 291"/>
              <a:gd name="T19" fmla="*/ 185 h 275"/>
              <a:gd name="T20" fmla="*/ 122 w 291"/>
              <a:gd name="T21" fmla="*/ 182 h 275"/>
              <a:gd name="T22" fmla="*/ 122 w 291"/>
              <a:gd name="T23" fmla="*/ 179 h 275"/>
              <a:gd name="T24" fmla="*/ 122 w 291"/>
              <a:gd name="T25" fmla="*/ 175 h 275"/>
              <a:gd name="T26" fmla="*/ 122 w 291"/>
              <a:gd name="T27" fmla="*/ 172 h 275"/>
              <a:gd name="T28" fmla="*/ 122 w 291"/>
              <a:gd name="T29" fmla="*/ 169 h 275"/>
              <a:gd name="T30" fmla="*/ 122 w 291"/>
              <a:gd name="T31" fmla="*/ 165 h 275"/>
              <a:gd name="T32" fmla="*/ 122 w 291"/>
              <a:gd name="T33" fmla="*/ 162 h 275"/>
              <a:gd name="T34" fmla="*/ 123 w 291"/>
              <a:gd name="T35" fmla="*/ 157 h 275"/>
              <a:gd name="T36" fmla="*/ 103 w 291"/>
              <a:gd name="T37" fmla="*/ 158 h 275"/>
              <a:gd name="T38" fmla="*/ 103 w 291"/>
              <a:gd name="T39" fmla="*/ 162 h 275"/>
              <a:gd name="T40" fmla="*/ 103 w 291"/>
              <a:gd name="T41" fmla="*/ 166 h 275"/>
              <a:gd name="T42" fmla="*/ 103 w 291"/>
              <a:gd name="T43" fmla="*/ 169 h 275"/>
              <a:gd name="T44" fmla="*/ 103 w 291"/>
              <a:gd name="T45" fmla="*/ 172 h 275"/>
              <a:gd name="T46" fmla="*/ 103 w 291"/>
              <a:gd name="T47" fmla="*/ 176 h 275"/>
              <a:gd name="T48" fmla="*/ 104 w 291"/>
              <a:gd name="T49" fmla="*/ 179 h 275"/>
              <a:gd name="T50" fmla="*/ 104 w 291"/>
              <a:gd name="T51" fmla="*/ 182 h 275"/>
              <a:gd name="T52" fmla="*/ 104 w 291"/>
              <a:gd name="T53" fmla="*/ 185 h 275"/>
              <a:gd name="T54" fmla="*/ 104 w 291"/>
              <a:gd name="T55" fmla="*/ 189 h 275"/>
              <a:gd name="T56" fmla="*/ 104 w 291"/>
              <a:gd name="T57" fmla="*/ 192 h 275"/>
              <a:gd name="T58" fmla="*/ 104 w 291"/>
              <a:gd name="T59" fmla="*/ 195 h 275"/>
              <a:gd name="T60" fmla="*/ 104 w 291"/>
              <a:gd name="T61" fmla="*/ 199 h 275"/>
              <a:gd name="T62" fmla="*/ 104 w 291"/>
              <a:gd name="T63" fmla="*/ 232 h 275"/>
              <a:gd name="T64" fmla="*/ 104 w 291"/>
              <a:gd name="T65" fmla="*/ 235 h 275"/>
              <a:gd name="T66" fmla="*/ 104 w 291"/>
              <a:gd name="T67" fmla="*/ 238 h 275"/>
              <a:gd name="T68" fmla="*/ 104 w 291"/>
              <a:gd name="T69" fmla="*/ 242 h 275"/>
              <a:gd name="T70" fmla="*/ 104 w 291"/>
              <a:gd name="T71" fmla="*/ 245 h 275"/>
              <a:gd name="T72" fmla="*/ 104 w 291"/>
              <a:gd name="T73" fmla="*/ 248 h 275"/>
              <a:gd name="T74" fmla="*/ 104 w 291"/>
              <a:gd name="T75" fmla="*/ 252 h 275"/>
              <a:gd name="T76" fmla="*/ 105 w 291"/>
              <a:gd name="T77" fmla="*/ 255 h 275"/>
              <a:gd name="T78" fmla="*/ 98 w 291"/>
              <a:gd name="T79" fmla="*/ 257 h 275"/>
              <a:gd name="T80" fmla="*/ 61 w 291"/>
              <a:gd name="T81" fmla="*/ 265 h 275"/>
              <a:gd name="T82" fmla="*/ 131 w 291"/>
              <a:gd name="T83" fmla="*/ 266 h 275"/>
              <a:gd name="T84" fmla="*/ 167 w 291"/>
              <a:gd name="T85" fmla="*/ 259 h 275"/>
              <a:gd name="T86" fmla="*/ 123 w 291"/>
              <a:gd name="T87" fmla="*/ 256 h 275"/>
              <a:gd name="T88" fmla="*/ 123 w 291"/>
              <a:gd name="T89" fmla="*/ 253 h 275"/>
              <a:gd name="T90" fmla="*/ 123 w 291"/>
              <a:gd name="T91" fmla="*/ 249 h 275"/>
              <a:gd name="T92" fmla="*/ 123 w 291"/>
              <a:gd name="T93" fmla="*/ 246 h 275"/>
              <a:gd name="T94" fmla="*/ 123 w 291"/>
              <a:gd name="T95" fmla="*/ 243 h 275"/>
              <a:gd name="T96" fmla="*/ 123 w 291"/>
              <a:gd name="T97" fmla="*/ 239 h 275"/>
              <a:gd name="T98" fmla="*/ 123 w 291"/>
              <a:gd name="T99" fmla="*/ 236 h 275"/>
              <a:gd name="T100" fmla="*/ 123 w 291"/>
              <a:gd name="T101" fmla="*/ 233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91" h="275">
                <a:moveTo>
                  <a:pt x="291" y="170"/>
                </a:moveTo>
                <a:cubicBezTo>
                  <a:pt x="291" y="159"/>
                  <a:pt x="291" y="109"/>
                  <a:pt x="290" y="60"/>
                </a:cubicBezTo>
                <a:cubicBezTo>
                  <a:pt x="290" y="29"/>
                  <a:pt x="260" y="0"/>
                  <a:pt x="215" y="1"/>
                </a:cubicBezTo>
                <a:cubicBezTo>
                  <a:pt x="208" y="1"/>
                  <a:pt x="102" y="2"/>
                  <a:pt x="102" y="2"/>
                </a:cubicBezTo>
                <a:cubicBezTo>
                  <a:pt x="89" y="3"/>
                  <a:pt x="87" y="13"/>
                  <a:pt x="87" y="18"/>
                </a:cubicBezTo>
                <a:cubicBezTo>
                  <a:pt x="87" y="23"/>
                  <a:pt x="87" y="19"/>
                  <a:pt x="87" y="26"/>
                </a:cubicBezTo>
                <a:cubicBezTo>
                  <a:pt x="87" y="32"/>
                  <a:pt x="94" y="37"/>
                  <a:pt x="101" y="38"/>
                </a:cubicBezTo>
                <a:cubicBezTo>
                  <a:pt x="101" y="38"/>
                  <a:pt x="101" y="38"/>
                  <a:pt x="101" y="39"/>
                </a:cubicBezTo>
                <a:cubicBezTo>
                  <a:pt x="101" y="40"/>
                  <a:pt x="101" y="40"/>
                  <a:pt x="102" y="41"/>
                </a:cubicBezTo>
                <a:cubicBezTo>
                  <a:pt x="96" y="48"/>
                  <a:pt x="96" y="48"/>
                  <a:pt x="96" y="48"/>
                </a:cubicBezTo>
                <a:cubicBezTo>
                  <a:pt x="96" y="56"/>
                  <a:pt x="96" y="56"/>
                  <a:pt x="96" y="56"/>
                </a:cubicBezTo>
                <a:cubicBezTo>
                  <a:pt x="40" y="56"/>
                  <a:pt x="40" y="56"/>
                  <a:pt x="40" y="56"/>
                </a:cubicBezTo>
                <a:cubicBezTo>
                  <a:pt x="40" y="92"/>
                  <a:pt x="40" y="92"/>
                  <a:pt x="40" y="92"/>
                </a:cubicBezTo>
                <a:cubicBezTo>
                  <a:pt x="0" y="92"/>
                  <a:pt x="0" y="92"/>
                  <a:pt x="0" y="92"/>
                </a:cubicBezTo>
                <a:cubicBezTo>
                  <a:pt x="0" y="140"/>
                  <a:pt x="0" y="140"/>
                  <a:pt x="0" y="140"/>
                </a:cubicBezTo>
                <a:cubicBezTo>
                  <a:pt x="207" y="140"/>
                  <a:pt x="207" y="140"/>
                  <a:pt x="207" y="140"/>
                </a:cubicBezTo>
                <a:cubicBezTo>
                  <a:pt x="207" y="92"/>
                  <a:pt x="207" y="92"/>
                  <a:pt x="207" y="92"/>
                </a:cubicBezTo>
                <a:cubicBezTo>
                  <a:pt x="179" y="92"/>
                  <a:pt x="179" y="92"/>
                  <a:pt x="179" y="92"/>
                </a:cubicBezTo>
                <a:cubicBezTo>
                  <a:pt x="179" y="56"/>
                  <a:pt x="179" y="56"/>
                  <a:pt x="179" y="56"/>
                </a:cubicBezTo>
                <a:cubicBezTo>
                  <a:pt x="128" y="56"/>
                  <a:pt x="128" y="56"/>
                  <a:pt x="128" y="56"/>
                </a:cubicBezTo>
                <a:cubicBezTo>
                  <a:pt x="128" y="49"/>
                  <a:pt x="128" y="49"/>
                  <a:pt x="128" y="49"/>
                </a:cubicBezTo>
                <a:cubicBezTo>
                  <a:pt x="122" y="41"/>
                  <a:pt x="122" y="41"/>
                  <a:pt x="122" y="41"/>
                </a:cubicBezTo>
                <a:cubicBezTo>
                  <a:pt x="122" y="40"/>
                  <a:pt x="123" y="40"/>
                  <a:pt x="123" y="39"/>
                </a:cubicBezTo>
                <a:cubicBezTo>
                  <a:pt x="123" y="38"/>
                  <a:pt x="123" y="38"/>
                  <a:pt x="122" y="37"/>
                </a:cubicBezTo>
                <a:cubicBezTo>
                  <a:pt x="149" y="37"/>
                  <a:pt x="193" y="36"/>
                  <a:pt x="201" y="36"/>
                </a:cubicBezTo>
                <a:cubicBezTo>
                  <a:pt x="246" y="36"/>
                  <a:pt x="250" y="54"/>
                  <a:pt x="250" y="66"/>
                </a:cubicBezTo>
                <a:cubicBezTo>
                  <a:pt x="250" y="77"/>
                  <a:pt x="251" y="145"/>
                  <a:pt x="251" y="172"/>
                </a:cubicBezTo>
                <a:cubicBezTo>
                  <a:pt x="252" y="198"/>
                  <a:pt x="210" y="198"/>
                  <a:pt x="202" y="198"/>
                </a:cubicBezTo>
                <a:cubicBezTo>
                  <a:pt x="197" y="198"/>
                  <a:pt x="147" y="198"/>
                  <a:pt x="123" y="199"/>
                </a:cubicBezTo>
                <a:cubicBezTo>
                  <a:pt x="123" y="199"/>
                  <a:pt x="122" y="198"/>
                  <a:pt x="122" y="198"/>
                </a:cubicBezTo>
                <a:cubicBezTo>
                  <a:pt x="120" y="198"/>
                  <a:pt x="120" y="198"/>
                  <a:pt x="120" y="198"/>
                </a:cubicBezTo>
                <a:cubicBezTo>
                  <a:pt x="120" y="197"/>
                  <a:pt x="120" y="197"/>
                  <a:pt x="120" y="197"/>
                </a:cubicBezTo>
                <a:cubicBezTo>
                  <a:pt x="122" y="196"/>
                  <a:pt x="122" y="196"/>
                  <a:pt x="122" y="196"/>
                </a:cubicBezTo>
                <a:cubicBezTo>
                  <a:pt x="122" y="196"/>
                  <a:pt x="123" y="196"/>
                  <a:pt x="123" y="196"/>
                </a:cubicBezTo>
                <a:cubicBezTo>
                  <a:pt x="123" y="195"/>
                  <a:pt x="122" y="195"/>
                  <a:pt x="122" y="195"/>
                </a:cubicBezTo>
                <a:cubicBezTo>
                  <a:pt x="120" y="195"/>
                  <a:pt x="120" y="195"/>
                  <a:pt x="120" y="195"/>
                </a:cubicBezTo>
                <a:cubicBezTo>
                  <a:pt x="120" y="193"/>
                  <a:pt x="120" y="193"/>
                  <a:pt x="120" y="193"/>
                </a:cubicBezTo>
                <a:cubicBezTo>
                  <a:pt x="122" y="193"/>
                  <a:pt x="122" y="193"/>
                  <a:pt x="122" y="193"/>
                </a:cubicBezTo>
                <a:cubicBezTo>
                  <a:pt x="122" y="193"/>
                  <a:pt x="123" y="193"/>
                  <a:pt x="123" y="192"/>
                </a:cubicBezTo>
                <a:cubicBezTo>
                  <a:pt x="123" y="192"/>
                  <a:pt x="122" y="192"/>
                  <a:pt x="122" y="192"/>
                </a:cubicBezTo>
                <a:cubicBezTo>
                  <a:pt x="120" y="192"/>
                  <a:pt x="120" y="192"/>
                  <a:pt x="120" y="192"/>
                </a:cubicBezTo>
                <a:cubicBezTo>
                  <a:pt x="120" y="190"/>
                  <a:pt x="120" y="190"/>
                  <a:pt x="120" y="190"/>
                </a:cubicBezTo>
                <a:cubicBezTo>
                  <a:pt x="122" y="190"/>
                  <a:pt x="122" y="190"/>
                  <a:pt x="122" y="190"/>
                </a:cubicBezTo>
                <a:cubicBezTo>
                  <a:pt x="122" y="190"/>
                  <a:pt x="123" y="190"/>
                  <a:pt x="123" y="189"/>
                </a:cubicBezTo>
                <a:cubicBezTo>
                  <a:pt x="123" y="189"/>
                  <a:pt x="122" y="189"/>
                  <a:pt x="122" y="189"/>
                </a:cubicBezTo>
                <a:cubicBezTo>
                  <a:pt x="120" y="189"/>
                  <a:pt x="120" y="189"/>
                  <a:pt x="120" y="189"/>
                </a:cubicBezTo>
                <a:cubicBezTo>
                  <a:pt x="120" y="187"/>
                  <a:pt x="120" y="187"/>
                  <a:pt x="120" y="187"/>
                </a:cubicBezTo>
                <a:cubicBezTo>
                  <a:pt x="122" y="187"/>
                  <a:pt x="122" y="187"/>
                  <a:pt x="122" y="187"/>
                </a:cubicBezTo>
                <a:cubicBezTo>
                  <a:pt x="122" y="187"/>
                  <a:pt x="123" y="186"/>
                  <a:pt x="123" y="186"/>
                </a:cubicBezTo>
                <a:cubicBezTo>
                  <a:pt x="123" y="186"/>
                  <a:pt x="122" y="185"/>
                  <a:pt x="122" y="185"/>
                </a:cubicBezTo>
                <a:cubicBezTo>
                  <a:pt x="120" y="185"/>
                  <a:pt x="120" y="185"/>
                  <a:pt x="120" y="185"/>
                </a:cubicBezTo>
                <a:cubicBezTo>
                  <a:pt x="120" y="183"/>
                  <a:pt x="120" y="183"/>
                  <a:pt x="120" y="183"/>
                </a:cubicBezTo>
                <a:cubicBezTo>
                  <a:pt x="122" y="183"/>
                  <a:pt x="122" y="183"/>
                  <a:pt x="122" y="183"/>
                </a:cubicBezTo>
                <a:cubicBezTo>
                  <a:pt x="122" y="183"/>
                  <a:pt x="123" y="183"/>
                  <a:pt x="123" y="183"/>
                </a:cubicBezTo>
                <a:cubicBezTo>
                  <a:pt x="123" y="182"/>
                  <a:pt x="122" y="182"/>
                  <a:pt x="122" y="182"/>
                </a:cubicBezTo>
                <a:cubicBezTo>
                  <a:pt x="120" y="182"/>
                  <a:pt x="120" y="182"/>
                  <a:pt x="120" y="182"/>
                </a:cubicBezTo>
                <a:cubicBezTo>
                  <a:pt x="119" y="180"/>
                  <a:pt x="119" y="180"/>
                  <a:pt x="119" y="180"/>
                </a:cubicBezTo>
                <a:cubicBezTo>
                  <a:pt x="122" y="180"/>
                  <a:pt x="122" y="180"/>
                  <a:pt x="122" y="180"/>
                </a:cubicBezTo>
                <a:cubicBezTo>
                  <a:pt x="122" y="180"/>
                  <a:pt x="123" y="180"/>
                  <a:pt x="123" y="179"/>
                </a:cubicBezTo>
                <a:cubicBezTo>
                  <a:pt x="122" y="179"/>
                  <a:pt x="122" y="179"/>
                  <a:pt x="122" y="179"/>
                </a:cubicBezTo>
                <a:cubicBezTo>
                  <a:pt x="119" y="179"/>
                  <a:pt x="119" y="179"/>
                  <a:pt x="119" y="179"/>
                </a:cubicBezTo>
                <a:cubicBezTo>
                  <a:pt x="119" y="177"/>
                  <a:pt x="119" y="177"/>
                  <a:pt x="119" y="177"/>
                </a:cubicBezTo>
                <a:cubicBezTo>
                  <a:pt x="122" y="177"/>
                  <a:pt x="122" y="177"/>
                  <a:pt x="122" y="177"/>
                </a:cubicBezTo>
                <a:cubicBezTo>
                  <a:pt x="122" y="177"/>
                  <a:pt x="122" y="176"/>
                  <a:pt x="122" y="176"/>
                </a:cubicBezTo>
                <a:cubicBezTo>
                  <a:pt x="122" y="176"/>
                  <a:pt x="122" y="175"/>
                  <a:pt x="122" y="175"/>
                </a:cubicBezTo>
                <a:cubicBezTo>
                  <a:pt x="119" y="175"/>
                  <a:pt x="119" y="175"/>
                  <a:pt x="119" y="175"/>
                </a:cubicBezTo>
                <a:cubicBezTo>
                  <a:pt x="119" y="173"/>
                  <a:pt x="119" y="173"/>
                  <a:pt x="119" y="173"/>
                </a:cubicBezTo>
                <a:cubicBezTo>
                  <a:pt x="122" y="173"/>
                  <a:pt x="122" y="173"/>
                  <a:pt x="122" y="173"/>
                </a:cubicBezTo>
                <a:cubicBezTo>
                  <a:pt x="122" y="173"/>
                  <a:pt x="122" y="173"/>
                  <a:pt x="122" y="173"/>
                </a:cubicBezTo>
                <a:cubicBezTo>
                  <a:pt x="122" y="172"/>
                  <a:pt x="122" y="172"/>
                  <a:pt x="122" y="172"/>
                </a:cubicBezTo>
                <a:cubicBezTo>
                  <a:pt x="119" y="172"/>
                  <a:pt x="119" y="172"/>
                  <a:pt x="119" y="172"/>
                </a:cubicBezTo>
                <a:cubicBezTo>
                  <a:pt x="119" y="170"/>
                  <a:pt x="119" y="170"/>
                  <a:pt x="119" y="170"/>
                </a:cubicBezTo>
                <a:cubicBezTo>
                  <a:pt x="122" y="170"/>
                  <a:pt x="122" y="170"/>
                  <a:pt x="122" y="170"/>
                </a:cubicBezTo>
                <a:cubicBezTo>
                  <a:pt x="122" y="170"/>
                  <a:pt x="122" y="170"/>
                  <a:pt x="122" y="169"/>
                </a:cubicBezTo>
                <a:cubicBezTo>
                  <a:pt x="122" y="169"/>
                  <a:pt x="122" y="169"/>
                  <a:pt x="122" y="169"/>
                </a:cubicBezTo>
                <a:cubicBezTo>
                  <a:pt x="119" y="169"/>
                  <a:pt x="119" y="169"/>
                  <a:pt x="119" y="169"/>
                </a:cubicBezTo>
                <a:cubicBezTo>
                  <a:pt x="119" y="167"/>
                  <a:pt x="119" y="167"/>
                  <a:pt x="119" y="167"/>
                </a:cubicBezTo>
                <a:cubicBezTo>
                  <a:pt x="122" y="167"/>
                  <a:pt x="122" y="167"/>
                  <a:pt x="122" y="167"/>
                </a:cubicBezTo>
                <a:cubicBezTo>
                  <a:pt x="122" y="167"/>
                  <a:pt x="122" y="166"/>
                  <a:pt x="122" y="166"/>
                </a:cubicBezTo>
                <a:cubicBezTo>
                  <a:pt x="122" y="166"/>
                  <a:pt x="122" y="165"/>
                  <a:pt x="122" y="165"/>
                </a:cubicBezTo>
                <a:cubicBezTo>
                  <a:pt x="119" y="165"/>
                  <a:pt x="119" y="165"/>
                  <a:pt x="119" y="165"/>
                </a:cubicBezTo>
                <a:cubicBezTo>
                  <a:pt x="119" y="163"/>
                  <a:pt x="119" y="163"/>
                  <a:pt x="119" y="163"/>
                </a:cubicBezTo>
                <a:cubicBezTo>
                  <a:pt x="122" y="163"/>
                  <a:pt x="122" y="163"/>
                  <a:pt x="122" y="163"/>
                </a:cubicBezTo>
                <a:cubicBezTo>
                  <a:pt x="122" y="163"/>
                  <a:pt x="122" y="163"/>
                  <a:pt x="122" y="163"/>
                </a:cubicBezTo>
                <a:cubicBezTo>
                  <a:pt x="122" y="162"/>
                  <a:pt x="122" y="162"/>
                  <a:pt x="122" y="162"/>
                </a:cubicBezTo>
                <a:cubicBezTo>
                  <a:pt x="119" y="162"/>
                  <a:pt x="119" y="162"/>
                  <a:pt x="119" y="162"/>
                </a:cubicBezTo>
                <a:cubicBezTo>
                  <a:pt x="119" y="161"/>
                  <a:pt x="119" y="161"/>
                  <a:pt x="119" y="161"/>
                </a:cubicBezTo>
                <a:cubicBezTo>
                  <a:pt x="122" y="161"/>
                  <a:pt x="122" y="161"/>
                  <a:pt x="122" y="161"/>
                </a:cubicBezTo>
                <a:cubicBezTo>
                  <a:pt x="123" y="161"/>
                  <a:pt x="124" y="160"/>
                  <a:pt x="124" y="159"/>
                </a:cubicBezTo>
                <a:cubicBezTo>
                  <a:pt x="124" y="158"/>
                  <a:pt x="124" y="158"/>
                  <a:pt x="123" y="157"/>
                </a:cubicBezTo>
                <a:cubicBezTo>
                  <a:pt x="129" y="150"/>
                  <a:pt x="129" y="150"/>
                  <a:pt x="129" y="150"/>
                </a:cubicBezTo>
                <a:cubicBezTo>
                  <a:pt x="129" y="140"/>
                  <a:pt x="129" y="140"/>
                  <a:pt x="129" y="140"/>
                </a:cubicBezTo>
                <a:cubicBezTo>
                  <a:pt x="97" y="140"/>
                  <a:pt x="97" y="140"/>
                  <a:pt x="97" y="140"/>
                </a:cubicBezTo>
                <a:cubicBezTo>
                  <a:pt x="97" y="149"/>
                  <a:pt x="97" y="149"/>
                  <a:pt x="97" y="149"/>
                </a:cubicBezTo>
                <a:cubicBezTo>
                  <a:pt x="103" y="158"/>
                  <a:pt x="103" y="158"/>
                  <a:pt x="103" y="158"/>
                </a:cubicBezTo>
                <a:cubicBezTo>
                  <a:pt x="102" y="158"/>
                  <a:pt x="102" y="159"/>
                  <a:pt x="102" y="159"/>
                </a:cubicBezTo>
                <a:cubicBezTo>
                  <a:pt x="102" y="161"/>
                  <a:pt x="103" y="161"/>
                  <a:pt x="104" y="161"/>
                </a:cubicBezTo>
                <a:cubicBezTo>
                  <a:pt x="105" y="161"/>
                  <a:pt x="105" y="161"/>
                  <a:pt x="105" y="161"/>
                </a:cubicBezTo>
                <a:cubicBezTo>
                  <a:pt x="105" y="162"/>
                  <a:pt x="105" y="162"/>
                  <a:pt x="105" y="162"/>
                </a:cubicBezTo>
                <a:cubicBezTo>
                  <a:pt x="103" y="162"/>
                  <a:pt x="103" y="162"/>
                  <a:pt x="103" y="162"/>
                </a:cubicBezTo>
                <a:cubicBezTo>
                  <a:pt x="103" y="162"/>
                  <a:pt x="103" y="163"/>
                  <a:pt x="103" y="163"/>
                </a:cubicBezTo>
                <a:cubicBezTo>
                  <a:pt x="103" y="163"/>
                  <a:pt x="103" y="164"/>
                  <a:pt x="103" y="164"/>
                </a:cubicBezTo>
                <a:cubicBezTo>
                  <a:pt x="105" y="164"/>
                  <a:pt x="105" y="164"/>
                  <a:pt x="105" y="164"/>
                </a:cubicBezTo>
                <a:cubicBezTo>
                  <a:pt x="105" y="166"/>
                  <a:pt x="105" y="166"/>
                  <a:pt x="105" y="166"/>
                </a:cubicBezTo>
                <a:cubicBezTo>
                  <a:pt x="103" y="166"/>
                  <a:pt x="103" y="166"/>
                  <a:pt x="103" y="166"/>
                </a:cubicBezTo>
                <a:cubicBezTo>
                  <a:pt x="103" y="166"/>
                  <a:pt x="103" y="166"/>
                  <a:pt x="103" y="166"/>
                </a:cubicBezTo>
                <a:cubicBezTo>
                  <a:pt x="103" y="167"/>
                  <a:pt x="103" y="167"/>
                  <a:pt x="103" y="167"/>
                </a:cubicBezTo>
                <a:cubicBezTo>
                  <a:pt x="105" y="167"/>
                  <a:pt x="105" y="167"/>
                  <a:pt x="105" y="167"/>
                </a:cubicBezTo>
                <a:cubicBezTo>
                  <a:pt x="105" y="169"/>
                  <a:pt x="105" y="169"/>
                  <a:pt x="105" y="169"/>
                </a:cubicBezTo>
                <a:cubicBezTo>
                  <a:pt x="103" y="169"/>
                  <a:pt x="103" y="169"/>
                  <a:pt x="103" y="169"/>
                </a:cubicBezTo>
                <a:cubicBezTo>
                  <a:pt x="103" y="169"/>
                  <a:pt x="103" y="169"/>
                  <a:pt x="103" y="170"/>
                </a:cubicBezTo>
                <a:cubicBezTo>
                  <a:pt x="103" y="170"/>
                  <a:pt x="103" y="170"/>
                  <a:pt x="103" y="170"/>
                </a:cubicBezTo>
                <a:cubicBezTo>
                  <a:pt x="105" y="170"/>
                  <a:pt x="105" y="170"/>
                  <a:pt x="105" y="170"/>
                </a:cubicBezTo>
                <a:cubicBezTo>
                  <a:pt x="105" y="172"/>
                  <a:pt x="105" y="172"/>
                  <a:pt x="105" y="172"/>
                </a:cubicBezTo>
                <a:cubicBezTo>
                  <a:pt x="103" y="172"/>
                  <a:pt x="103" y="172"/>
                  <a:pt x="103" y="172"/>
                </a:cubicBezTo>
                <a:cubicBezTo>
                  <a:pt x="103" y="172"/>
                  <a:pt x="103" y="173"/>
                  <a:pt x="103" y="173"/>
                </a:cubicBezTo>
                <a:cubicBezTo>
                  <a:pt x="103" y="173"/>
                  <a:pt x="103" y="174"/>
                  <a:pt x="103" y="174"/>
                </a:cubicBezTo>
                <a:cubicBezTo>
                  <a:pt x="105" y="174"/>
                  <a:pt x="105" y="174"/>
                  <a:pt x="105" y="174"/>
                </a:cubicBezTo>
                <a:cubicBezTo>
                  <a:pt x="105" y="176"/>
                  <a:pt x="105" y="176"/>
                  <a:pt x="105" y="176"/>
                </a:cubicBezTo>
                <a:cubicBezTo>
                  <a:pt x="103" y="176"/>
                  <a:pt x="103" y="176"/>
                  <a:pt x="103" y="176"/>
                </a:cubicBezTo>
                <a:cubicBezTo>
                  <a:pt x="103" y="176"/>
                  <a:pt x="103" y="176"/>
                  <a:pt x="103" y="176"/>
                </a:cubicBezTo>
                <a:cubicBezTo>
                  <a:pt x="103" y="177"/>
                  <a:pt x="103" y="177"/>
                  <a:pt x="104" y="177"/>
                </a:cubicBezTo>
                <a:cubicBezTo>
                  <a:pt x="105" y="177"/>
                  <a:pt x="105" y="177"/>
                  <a:pt x="105" y="177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4" y="179"/>
                  <a:pt x="104" y="179"/>
                  <a:pt x="104" y="179"/>
                </a:cubicBezTo>
                <a:cubicBezTo>
                  <a:pt x="103" y="179"/>
                  <a:pt x="103" y="179"/>
                  <a:pt x="103" y="180"/>
                </a:cubicBezTo>
                <a:cubicBezTo>
                  <a:pt x="103" y="180"/>
                  <a:pt x="103" y="180"/>
                  <a:pt x="104" y="180"/>
                </a:cubicBezTo>
                <a:cubicBezTo>
                  <a:pt x="105" y="180"/>
                  <a:pt x="105" y="180"/>
                  <a:pt x="105" y="180"/>
                </a:cubicBezTo>
                <a:cubicBezTo>
                  <a:pt x="105" y="182"/>
                  <a:pt x="105" y="182"/>
                  <a:pt x="105" y="182"/>
                </a:cubicBezTo>
                <a:cubicBezTo>
                  <a:pt x="104" y="182"/>
                  <a:pt x="104" y="182"/>
                  <a:pt x="104" y="182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3"/>
                  <a:pt x="103" y="183"/>
                  <a:pt x="104" y="183"/>
                </a:cubicBezTo>
                <a:cubicBezTo>
                  <a:pt x="105" y="183"/>
                  <a:pt x="105" y="183"/>
                  <a:pt x="105" y="183"/>
                </a:cubicBezTo>
                <a:cubicBezTo>
                  <a:pt x="105" y="185"/>
                  <a:pt x="105" y="185"/>
                  <a:pt x="105" y="185"/>
                </a:cubicBezTo>
                <a:cubicBezTo>
                  <a:pt x="104" y="185"/>
                  <a:pt x="104" y="185"/>
                  <a:pt x="104" y="185"/>
                </a:cubicBezTo>
                <a:cubicBezTo>
                  <a:pt x="103" y="185"/>
                  <a:pt x="103" y="186"/>
                  <a:pt x="103" y="186"/>
                </a:cubicBezTo>
                <a:cubicBezTo>
                  <a:pt x="103" y="187"/>
                  <a:pt x="103" y="187"/>
                  <a:pt x="104" y="187"/>
                </a:cubicBezTo>
                <a:cubicBezTo>
                  <a:pt x="105" y="187"/>
                  <a:pt x="105" y="187"/>
                  <a:pt x="105" y="187"/>
                </a:cubicBezTo>
                <a:cubicBezTo>
                  <a:pt x="105" y="189"/>
                  <a:pt x="105" y="189"/>
                  <a:pt x="105" y="189"/>
                </a:cubicBezTo>
                <a:cubicBezTo>
                  <a:pt x="104" y="189"/>
                  <a:pt x="104" y="189"/>
                  <a:pt x="104" y="189"/>
                </a:cubicBezTo>
                <a:cubicBezTo>
                  <a:pt x="103" y="189"/>
                  <a:pt x="103" y="189"/>
                  <a:pt x="103" y="189"/>
                </a:cubicBezTo>
                <a:cubicBezTo>
                  <a:pt x="103" y="190"/>
                  <a:pt x="103" y="190"/>
                  <a:pt x="104" y="190"/>
                </a:cubicBezTo>
                <a:cubicBezTo>
                  <a:pt x="105" y="190"/>
                  <a:pt x="105" y="190"/>
                  <a:pt x="105" y="190"/>
                </a:cubicBezTo>
                <a:cubicBezTo>
                  <a:pt x="105" y="192"/>
                  <a:pt x="105" y="192"/>
                  <a:pt x="105" y="192"/>
                </a:cubicBezTo>
                <a:cubicBezTo>
                  <a:pt x="104" y="192"/>
                  <a:pt x="104" y="192"/>
                  <a:pt x="104" y="192"/>
                </a:cubicBezTo>
                <a:cubicBezTo>
                  <a:pt x="103" y="192"/>
                  <a:pt x="103" y="192"/>
                  <a:pt x="103" y="193"/>
                </a:cubicBezTo>
                <a:cubicBezTo>
                  <a:pt x="103" y="193"/>
                  <a:pt x="103" y="193"/>
                  <a:pt x="104" y="193"/>
                </a:cubicBezTo>
                <a:cubicBezTo>
                  <a:pt x="105" y="193"/>
                  <a:pt x="105" y="193"/>
                  <a:pt x="105" y="193"/>
                </a:cubicBezTo>
                <a:cubicBezTo>
                  <a:pt x="105" y="195"/>
                  <a:pt x="105" y="195"/>
                  <a:pt x="105" y="195"/>
                </a:cubicBezTo>
                <a:cubicBezTo>
                  <a:pt x="104" y="195"/>
                  <a:pt x="104" y="195"/>
                  <a:pt x="104" y="195"/>
                </a:cubicBezTo>
                <a:cubicBezTo>
                  <a:pt x="103" y="195"/>
                  <a:pt x="103" y="196"/>
                  <a:pt x="103" y="196"/>
                </a:cubicBezTo>
                <a:cubicBezTo>
                  <a:pt x="103" y="196"/>
                  <a:pt x="103" y="197"/>
                  <a:pt x="104" y="197"/>
                </a:cubicBezTo>
                <a:cubicBezTo>
                  <a:pt x="105" y="197"/>
                  <a:pt x="105" y="197"/>
                  <a:pt x="105" y="197"/>
                </a:cubicBezTo>
                <a:cubicBezTo>
                  <a:pt x="105" y="199"/>
                  <a:pt x="105" y="199"/>
                  <a:pt x="105" y="199"/>
                </a:cubicBezTo>
                <a:cubicBezTo>
                  <a:pt x="104" y="199"/>
                  <a:pt x="104" y="199"/>
                  <a:pt x="104" y="199"/>
                </a:cubicBezTo>
                <a:cubicBezTo>
                  <a:pt x="103" y="199"/>
                  <a:pt x="103" y="199"/>
                  <a:pt x="103" y="199"/>
                </a:cubicBezTo>
                <a:cubicBezTo>
                  <a:pt x="103" y="199"/>
                  <a:pt x="103" y="200"/>
                  <a:pt x="103" y="200"/>
                </a:cubicBezTo>
                <a:cubicBezTo>
                  <a:pt x="98" y="201"/>
                  <a:pt x="94" y="204"/>
                  <a:pt x="94" y="210"/>
                </a:cubicBezTo>
                <a:cubicBezTo>
                  <a:pt x="94" y="214"/>
                  <a:pt x="94" y="215"/>
                  <a:pt x="95" y="221"/>
                </a:cubicBezTo>
                <a:cubicBezTo>
                  <a:pt x="95" y="226"/>
                  <a:pt x="99" y="231"/>
                  <a:pt x="104" y="232"/>
                </a:cubicBezTo>
                <a:cubicBezTo>
                  <a:pt x="104" y="232"/>
                  <a:pt x="104" y="232"/>
                  <a:pt x="104" y="232"/>
                </a:cubicBezTo>
                <a:cubicBezTo>
                  <a:pt x="104" y="233"/>
                  <a:pt x="104" y="233"/>
                  <a:pt x="104" y="233"/>
                </a:cubicBezTo>
                <a:cubicBezTo>
                  <a:pt x="106" y="233"/>
                  <a:pt x="106" y="233"/>
                  <a:pt x="106" y="233"/>
                </a:cubicBezTo>
                <a:cubicBezTo>
                  <a:pt x="106" y="235"/>
                  <a:pt x="106" y="235"/>
                  <a:pt x="106" y="235"/>
                </a:cubicBezTo>
                <a:cubicBezTo>
                  <a:pt x="104" y="235"/>
                  <a:pt x="104" y="235"/>
                  <a:pt x="104" y="235"/>
                </a:cubicBezTo>
                <a:cubicBezTo>
                  <a:pt x="104" y="235"/>
                  <a:pt x="104" y="235"/>
                  <a:pt x="104" y="236"/>
                </a:cubicBezTo>
                <a:cubicBezTo>
                  <a:pt x="104" y="236"/>
                  <a:pt x="104" y="236"/>
                  <a:pt x="104" y="236"/>
                </a:cubicBezTo>
                <a:cubicBezTo>
                  <a:pt x="106" y="236"/>
                  <a:pt x="106" y="236"/>
                  <a:pt x="106" y="236"/>
                </a:cubicBezTo>
                <a:cubicBezTo>
                  <a:pt x="106" y="238"/>
                  <a:pt x="106" y="238"/>
                  <a:pt x="106" y="238"/>
                </a:cubicBezTo>
                <a:cubicBezTo>
                  <a:pt x="104" y="238"/>
                  <a:pt x="104" y="238"/>
                  <a:pt x="104" y="238"/>
                </a:cubicBezTo>
                <a:cubicBezTo>
                  <a:pt x="104" y="238"/>
                  <a:pt x="104" y="239"/>
                  <a:pt x="104" y="239"/>
                </a:cubicBezTo>
                <a:cubicBezTo>
                  <a:pt x="104" y="239"/>
                  <a:pt x="104" y="240"/>
                  <a:pt x="104" y="240"/>
                </a:cubicBezTo>
                <a:cubicBezTo>
                  <a:pt x="106" y="240"/>
                  <a:pt x="106" y="240"/>
                  <a:pt x="106" y="240"/>
                </a:cubicBezTo>
                <a:cubicBezTo>
                  <a:pt x="106" y="242"/>
                  <a:pt x="106" y="242"/>
                  <a:pt x="106" y="242"/>
                </a:cubicBezTo>
                <a:cubicBezTo>
                  <a:pt x="104" y="242"/>
                  <a:pt x="104" y="242"/>
                  <a:pt x="104" y="242"/>
                </a:cubicBezTo>
                <a:cubicBezTo>
                  <a:pt x="104" y="242"/>
                  <a:pt x="104" y="242"/>
                  <a:pt x="104" y="242"/>
                </a:cubicBezTo>
                <a:cubicBezTo>
                  <a:pt x="104" y="243"/>
                  <a:pt x="104" y="243"/>
                  <a:pt x="104" y="243"/>
                </a:cubicBezTo>
                <a:cubicBezTo>
                  <a:pt x="106" y="243"/>
                  <a:pt x="106" y="243"/>
                  <a:pt x="106" y="243"/>
                </a:cubicBezTo>
                <a:cubicBezTo>
                  <a:pt x="106" y="245"/>
                  <a:pt x="106" y="245"/>
                  <a:pt x="106" y="245"/>
                </a:cubicBezTo>
                <a:cubicBezTo>
                  <a:pt x="104" y="245"/>
                  <a:pt x="104" y="245"/>
                  <a:pt x="104" y="245"/>
                </a:cubicBezTo>
                <a:cubicBezTo>
                  <a:pt x="104" y="245"/>
                  <a:pt x="104" y="245"/>
                  <a:pt x="104" y="246"/>
                </a:cubicBezTo>
                <a:cubicBezTo>
                  <a:pt x="104" y="246"/>
                  <a:pt x="104" y="246"/>
                  <a:pt x="104" y="246"/>
                </a:cubicBezTo>
                <a:cubicBezTo>
                  <a:pt x="106" y="246"/>
                  <a:pt x="106" y="246"/>
                  <a:pt x="106" y="246"/>
                </a:cubicBezTo>
                <a:cubicBezTo>
                  <a:pt x="106" y="248"/>
                  <a:pt x="106" y="248"/>
                  <a:pt x="106" y="248"/>
                </a:cubicBezTo>
                <a:cubicBezTo>
                  <a:pt x="104" y="248"/>
                  <a:pt x="104" y="248"/>
                  <a:pt x="104" y="248"/>
                </a:cubicBezTo>
                <a:cubicBezTo>
                  <a:pt x="104" y="248"/>
                  <a:pt x="104" y="249"/>
                  <a:pt x="104" y="249"/>
                </a:cubicBezTo>
                <a:cubicBezTo>
                  <a:pt x="104" y="249"/>
                  <a:pt x="104" y="250"/>
                  <a:pt x="104" y="250"/>
                </a:cubicBezTo>
                <a:cubicBezTo>
                  <a:pt x="106" y="250"/>
                  <a:pt x="106" y="250"/>
                  <a:pt x="106" y="250"/>
                </a:cubicBezTo>
                <a:cubicBezTo>
                  <a:pt x="106" y="252"/>
                  <a:pt x="106" y="252"/>
                  <a:pt x="106" y="252"/>
                </a:cubicBezTo>
                <a:cubicBezTo>
                  <a:pt x="104" y="252"/>
                  <a:pt x="104" y="252"/>
                  <a:pt x="104" y="252"/>
                </a:cubicBezTo>
                <a:cubicBezTo>
                  <a:pt x="104" y="252"/>
                  <a:pt x="104" y="252"/>
                  <a:pt x="104" y="252"/>
                </a:cubicBezTo>
                <a:cubicBezTo>
                  <a:pt x="104" y="253"/>
                  <a:pt x="104" y="253"/>
                  <a:pt x="105" y="253"/>
                </a:cubicBezTo>
                <a:cubicBezTo>
                  <a:pt x="106" y="253"/>
                  <a:pt x="106" y="253"/>
                  <a:pt x="106" y="253"/>
                </a:cubicBezTo>
                <a:cubicBezTo>
                  <a:pt x="106" y="255"/>
                  <a:pt x="106" y="255"/>
                  <a:pt x="106" y="255"/>
                </a:cubicBezTo>
                <a:cubicBezTo>
                  <a:pt x="105" y="255"/>
                  <a:pt x="105" y="255"/>
                  <a:pt x="105" y="255"/>
                </a:cubicBezTo>
                <a:cubicBezTo>
                  <a:pt x="104" y="255"/>
                  <a:pt x="104" y="255"/>
                  <a:pt x="104" y="256"/>
                </a:cubicBezTo>
                <a:cubicBezTo>
                  <a:pt x="104" y="256"/>
                  <a:pt x="104" y="256"/>
                  <a:pt x="105" y="256"/>
                </a:cubicBezTo>
                <a:cubicBezTo>
                  <a:pt x="106" y="256"/>
                  <a:pt x="106" y="256"/>
                  <a:pt x="106" y="256"/>
                </a:cubicBezTo>
                <a:cubicBezTo>
                  <a:pt x="106" y="257"/>
                  <a:pt x="106" y="257"/>
                  <a:pt x="106" y="257"/>
                </a:cubicBezTo>
                <a:cubicBezTo>
                  <a:pt x="98" y="257"/>
                  <a:pt x="98" y="257"/>
                  <a:pt x="98" y="257"/>
                </a:cubicBezTo>
                <a:cubicBezTo>
                  <a:pt x="98" y="260"/>
                  <a:pt x="98" y="260"/>
                  <a:pt x="98" y="260"/>
                </a:cubicBezTo>
                <a:cubicBezTo>
                  <a:pt x="61" y="260"/>
                  <a:pt x="61" y="260"/>
                  <a:pt x="61" y="260"/>
                </a:cubicBezTo>
                <a:cubicBezTo>
                  <a:pt x="58" y="260"/>
                  <a:pt x="56" y="261"/>
                  <a:pt x="56" y="262"/>
                </a:cubicBezTo>
                <a:cubicBezTo>
                  <a:pt x="56" y="263"/>
                  <a:pt x="56" y="263"/>
                  <a:pt x="56" y="263"/>
                </a:cubicBezTo>
                <a:cubicBezTo>
                  <a:pt x="56" y="264"/>
                  <a:pt x="58" y="265"/>
                  <a:pt x="61" y="265"/>
                </a:cubicBezTo>
                <a:cubicBezTo>
                  <a:pt x="98" y="264"/>
                  <a:pt x="98" y="264"/>
                  <a:pt x="98" y="264"/>
                </a:cubicBezTo>
                <a:cubicBezTo>
                  <a:pt x="98" y="266"/>
                  <a:pt x="98" y="266"/>
                  <a:pt x="98" y="266"/>
                </a:cubicBezTo>
                <a:cubicBezTo>
                  <a:pt x="105" y="275"/>
                  <a:pt x="105" y="275"/>
                  <a:pt x="105" y="275"/>
                </a:cubicBezTo>
                <a:cubicBezTo>
                  <a:pt x="124" y="275"/>
                  <a:pt x="124" y="275"/>
                  <a:pt x="124" y="275"/>
                </a:cubicBezTo>
                <a:cubicBezTo>
                  <a:pt x="131" y="266"/>
                  <a:pt x="131" y="266"/>
                  <a:pt x="131" y="266"/>
                </a:cubicBezTo>
                <a:cubicBezTo>
                  <a:pt x="131" y="264"/>
                  <a:pt x="131" y="264"/>
                  <a:pt x="131" y="264"/>
                </a:cubicBezTo>
                <a:cubicBezTo>
                  <a:pt x="167" y="264"/>
                  <a:pt x="167" y="264"/>
                  <a:pt x="167" y="264"/>
                </a:cubicBezTo>
                <a:cubicBezTo>
                  <a:pt x="170" y="263"/>
                  <a:pt x="173" y="263"/>
                  <a:pt x="173" y="262"/>
                </a:cubicBezTo>
                <a:cubicBezTo>
                  <a:pt x="172" y="260"/>
                  <a:pt x="172" y="260"/>
                  <a:pt x="172" y="260"/>
                </a:cubicBezTo>
                <a:cubicBezTo>
                  <a:pt x="172" y="259"/>
                  <a:pt x="170" y="259"/>
                  <a:pt x="167" y="259"/>
                </a:cubicBezTo>
                <a:cubicBezTo>
                  <a:pt x="131" y="259"/>
                  <a:pt x="131" y="259"/>
                  <a:pt x="131" y="259"/>
                </a:cubicBezTo>
                <a:cubicBezTo>
                  <a:pt x="131" y="257"/>
                  <a:pt x="131" y="257"/>
                  <a:pt x="131" y="257"/>
                </a:cubicBezTo>
                <a:cubicBezTo>
                  <a:pt x="121" y="257"/>
                  <a:pt x="121" y="257"/>
                  <a:pt x="121" y="257"/>
                </a:cubicBezTo>
                <a:cubicBezTo>
                  <a:pt x="121" y="256"/>
                  <a:pt x="121" y="256"/>
                  <a:pt x="121" y="256"/>
                </a:cubicBezTo>
                <a:cubicBezTo>
                  <a:pt x="123" y="256"/>
                  <a:pt x="123" y="256"/>
                  <a:pt x="123" y="256"/>
                </a:cubicBezTo>
                <a:cubicBezTo>
                  <a:pt x="123" y="256"/>
                  <a:pt x="124" y="256"/>
                  <a:pt x="124" y="255"/>
                </a:cubicBezTo>
                <a:cubicBezTo>
                  <a:pt x="124" y="255"/>
                  <a:pt x="123" y="255"/>
                  <a:pt x="123" y="255"/>
                </a:cubicBezTo>
                <a:cubicBezTo>
                  <a:pt x="120" y="255"/>
                  <a:pt x="120" y="255"/>
                  <a:pt x="120" y="255"/>
                </a:cubicBezTo>
                <a:cubicBezTo>
                  <a:pt x="120" y="253"/>
                  <a:pt x="120" y="253"/>
                  <a:pt x="120" y="253"/>
                </a:cubicBezTo>
                <a:cubicBezTo>
                  <a:pt x="123" y="253"/>
                  <a:pt x="123" y="253"/>
                  <a:pt x="123" y="253"/>
                </a:cubicBezTo>
                <a:cubicBezTo>
                  <a:pt x="123" y="253"/>
                  <a:pt x="123" y="252"/>
                  <a:pt x="123" y="252"/>
                </a:cubicBezTo>
                <a:cubicBezTo>
                  <a:pt x="123" y="252"/>
                  <a:pt x="123" y="251"/>
                  <a:pt x="123" y="251"/>
                </a:cubicBezTo>
                <a:cubicBezTo>
                  <a:pt x="120" y="251"/>
                  <a:pt x="120" y="251"/>
                  <a:pt x="120" y="251"/>
                </a:cubicBezTo>
                <a:cubicBezTo>
                  <a:pt x="120" y="249"/>
                  <a:pt x="120" y="249"/>
                  <a:pt x="120" y="249"/>
                </a:cubicBezTo>
                <a:cubicBezTo>
                  <a:pt x="123" y="249"/>
                  <a:pt x="123" y="249"/>
                  <a:pt x="123" y="249"/>
                </a:cubicBezTo>
                <a:cubicBezTo>
                  <a:pt x="123" y="249"/>
                  <a:pt x="123" y="249"/>
                  <a:pt x="123" y="249"/>
                </a:cubicBezTo>
                <a:cubicBezTo>
                  <a:pt x="123" y="248"/>
                  <a:pt x="123" y="248"/>
                  <a:pt x="123" y="248"/>
                </a:cubicBezTo>
                <a:cubicBezTo>
                  <a:pt x="120" y="248"/>
                  <a:pt x="120" y="248"/>
                  <a:pt x="120" y="248"/>
                </a:cubicBezTo>
                <a:cubicBezTo>
                  <a:pt x="120" y="246"/>
                  <a:pt x="120" y="246"/>
                  <a:pt x="120" y="246"/>
                </a:cubicBezTo>
                <a:cubicBezTo>
                  <a:pt x="123" y="246"/>
                  <a:pt x="123" y="246"/>
                  <a:pt x="123" y="246"/>
                </a:cubicBezTo>
                <a:cubicBezTo>
                  <a:pt x="123" y="246"/>
                  <a:pt x="123" y="246"/>
                  <a:pt x="123" y="245"/>
                </a:cubicBezTo>
                <a:cubicBezTo>
                  <a:pt x="123" y="245"/>
                  <a:pt x="123" y="245"/>
                  <a:pt x="123" y="245"/>
                </a:cubicBezTo>
                <a:cubicBezTo>
                  <a:pt x="120" y="245"/>
                  <a:pt x="120" y="245"/>
                  <a:pt x="120" y="245"/>
                </a:cubicBezTo>
                <a:cubicBezTo>
                  <a:pt x="120" y="243"/>
                  <a:pt x="120" y="243"/>
                  <a:pt x="120" y="243"/>
                </a:cubicBezTo>
                <a:cubicBezTo>
                  <a:pt x="123" y="243"/>
                  <a:pt x="123" y="243"/>
                  <a:pt x="123" y="243"/>
                </a:cubicBezTo>
                <a:cubicBezTo>
                  <a:pt x="123" y="243"/>
                  <a:pt x="123" y="242"/>
                  <a:pt x="123" y="242"/>
                </a:cubicBezTo>
                <a:cubicBezTo>
                  <a:pt x="123" y="242"/>
                  <a:pt x="123" y="241"/>
                  <a:pt x="123" y="241"/>
                </a:cubicBezTo>
                <a:cubicBezTo>
                  <a:pt x="120" y="241"/>
                  <a:pt x="120" y="241"/>
                  <a:pt x="120" y="241"/>
                </a:cubicBezTo>
                <a:cubicBezTo>
                  <a:pt x="120" y="240"/>
                  <a:pt x="120" y="240"/>
                  <a:pt x="120" y="240"/>
                </a:cubicBezTo>
                <a:cubicBezTo>
                  <a:pt x="123" y="239"/>
                  <a:pt x="123" y="239"/>
                  <a:pt x="123" y="239"/>
                </a:cubicBezTo>
                <a:cubicBezTo>
                  <a:pt x="123" y="239"/>
                  <a:pt x="123" y="239"/>
                  <a:pt x="123" y="239"/>
                </a:cubicBezTo>
                <a:cubicBezTo>
                  <a:pt x="123" y="238"/>
                  <a:pt x="123" y="238"/>
                  <a:pt x="123" y="238"/>
                </a:cubicBezTo>
                <a:cubicBezTo>
                  <a:pt x="120" y="238"/>
                  <a:pt x="120" y="238"/>
                  <a:pt x="120" y="238"/>
                </a:cubicBezTo>
                <a:cubicBezTo>
                  <a:pt x="120" y="236"/>
                  <a:pt x="120" y="236"/>
                  <a:pt x="120" y="236"/>
                </a:cubicBezTo>
                <a:cubicBezTo>
                  <a:pt x="123" y="236"/>
                  <a:pt x="123" y="236"/>
                  <a:pt x="123" y="236"/>
                </a:cubicBezTo>
                <a:cubicBezTo>
                  <a:pt x="123" y="236"/>
                  <a:pt x="123" y="236"/>
                  <a:pt x="123" y="236"/>
                </a:cubicBezTo>
                <a:cubicBezTo>
                  <a:pt x="123" y="235"/>
                  <a:pt x="123" y="235"/>
                  <a:pt x="123" y="235"/>
                </a:cubicBezTo>
                <a:cubicBezTo>
                  <a:pt x="120" y="235"/>
                  <a:pt x="120" y="235"/>
                  <a:pt x="120" y="235"/>
                </a:cubicBezTo>
                <a:cubicBezTo>
                  <a:pt x="120" y="233"/>
                  <a:pt x="120" y="233"/>
                  <a:pt x="120" y="233"/>
                </a:cubicBezTo>
                <a:cubicBezTo>
                  <a:pt x="123" y="233"/>
                  <a:pt x="123" y="233"/>
                  <a:pt x="123" y="233"/>
                </a:cubicBezTo>
                <a:cubicBezTo>
                  <a:pt x="123" y="233"/>
                  <a:pt x="123" y="233"/>
                  <a:pt x="123" y="232"/>
                </a:cubicBezTo>
                <a:cubicBezTo>
                  <a:pt x="123" y="232"/>
                  <a:pt x="123" y="232"/>
                  <a:pt x="123" y="232"/>
                </a:cubicBezTo>
                <a:cubicBezTo>
                  <a:pt x="140" y="232"/>
                  <a:pt x="169" y="231"/>
                  <a:pt x="217" y="231"/>
                </a:cubicBezTo>
                <a:cubicBezTo>
                  <a:pt x="291" y="230"/>
                  <a:pt x="291" y="182"/>
                  <a:pt x="291" y="17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273" tIns="41137" rIns="82273" bIns="4113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0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6476745" y="4615202"/>
            <a:ext cx="279186" cy="331071"/>
            <a:chOff x="6503087" y="4590470"/>
            <a:chExt cx="328008" cy="388724"/>
          </a:xfrm>
        </p:grpSpPr>
        <p:sp>
          <p:nvSpPr>
            <p:cNvPr id="47" name="Freeform 18"/>
            <p:cNvSpPr>
              <a:spLocks noEditPoints="1"/>
            </p:cNvSpPr>
            <p:nvPr/>
          </p:nvSpPr>
          <p:spPr bwMode="black">
            <a:xfrm rot="21233657">
              <a:off x="6550038" y="4590470"/>
              <a:ext cx="281057" cy="220696"/>
            </a:xfrm>
            <a:custGeom>
              <a:avLst/>
              <a:gdLst>
                <a:gd name="T0" fmla="*/ 1304 w 1423"/>
                <a:gd name="T1" fmla="*/ 301 h 1114"/>
                <a:gd name="T2" fmla="*/ 1302 w 1423"/>
                <a:gd name="T3" fmla="*/ 297 h 1114"/>
                <a:gd name="T4" fmla="*/ 719 w 1423"/>
                <a:gd name="T5" fmla="*/ 113 h 1114"/>
                <a:gd name="T6" fmla="*/ 496 w 1423"/>
                <a:gd name="T7" fmla="*/ 416 h 1114"/>
                <a:gd name="T8" fmla="*/ 441 w 1423"/>
                <a:gd name="T9" fmla="*/ 482 h 1114"/>
                <a:gd name="T10" fmla="*/ 375 w 1423"/>
                <a:gd name="T11" fmla="*/ 536 h 1114"/>
                <a:gd name="T12" fmla="*/ 290 w 1423"/>
                <a:gd name="T13" fmla="*/ 648 h 1114"/>
                <a:gd name="T14" fmla="*/ 470 w 1423"/>
                <a:gd name="T15" fmla="*/ 973 h 1114"/>
                <a:gd name="T16" fmla="*/ 610 w 1423"/>
                <a:gd name="T17" fmla="*/ 960 h 1114"/>
                <a:gd name="T18" fmla="*/ 775 w 1423"/>
                <a:gd name="T19" fmla="*/ 921 h 1114"/>
                <a:gd name="T20" fmla="*/ 932 w 1423"/>
                <a:gd name="T21" fmla="*/ 927 h 1114"/>
                <a:gd name="T22" fmla="*/ 1151 w 1423"/>
                <a:gd name="T23" fmla="*/ 893 h 1114"/>
                <a:gd name="T24" fmla="*/ 1304 w 1423"/>
                <a:gd name="T25" fmla="*/ 301 h 1114"/>
                <a:gd name="T26" fmla="*/ 1024 w 1423"/>
                <a:gd name="T27" fmla="*/ 311 h 1114"/>
                <a:gd name="T28" fmla="*/ 1024 w 1423"/>
                <a:gd name="T29" fmla="*/ 311 h 1114"/>
                <a:gd name="T30" fmla="*/ 873 w 1423"/>
                <a:gd name="T31" fmla="*/ 299 h 1114"/>
                <a:gd name="T32" fmla="*/ 873 w 1423"/>
                <a:gd name="T33" fmla="*/ 299 h 1114"/>
                <a:gd name="T34" fmla="*/ 799 w 1423"/>
                <a:gd name="T35" fmla="*/ 278 h 1114"/>
                <a:gd name="T36" fmla="*/ 821 w 1423"/>
                <a:gd name="T37" fmla="*/ 203 h 1114"/>
                <a:gd name="T38" fmla="*/ 828 w 1423"/>
                <a:gd name="T39" fmla="*/ 200 h 1114"/>
                <a:gd name="T40" fmla="*/ 1101 w 1423"/>
                <a:gd name="T41" fmla="*/ 234 h 1114"/>
                <a:gd name="T42" fmla="*/ 1108 w 1423"/>
                <a:gd name="T43" fmla="*/ 244 h 1114"/>
                <a:gd name="T44" fmla="*/ 1087 w 1423"/>
                <a:gd name="T45" fmla="*/ 318 h 1114"/>
                <a:gd name="T46" fmla="*/ 1024 w 1423"/>
                <a:gd name="T47" fmla="*/ 311 h 1114"/>
                <a:gd name="T48" fmla="*/ 14 w 1423"/>
                <a:gd name="T49" fmla="*/ 967 h 1114"/>
                <a:gd name="T50" fmla="*/ 53 w 1423"/>
                <a:gd name="T51" fmla="*/ 1037 h 1114"/>
                <a:gd name="T52" fmla="*/ 115 w 1423"/>
                <a:gd name="T53" fmla="*/ 1064 h 1114"/>
                <a:gd name="T54" fmla="*/ 24 w 1423"/>
                <a:gd name="T55" fmla="*/ 900 h 1114"/>
                <a:gd name="T56" fmla="*/ 14 w 1423"/>
                <a:gd name="T57" fmla="*/ 967 h 1114"/>
                <a:gd name="T58" fmla="*/ 400 w 1423"/>
                <a:gd name="T59" fmla="*/ 959 h 1114"/>
                <a:gd name="T60" fmla="*/ 265 w 1423"/>
                <a:gd name="T61" fmla="*/ 714 h 1114"/>
                <a:gd name="T62" fmla="*/ 190 w 1423"/>
                <a:gd name="T63" fmla="*/ 686 h 1114"/>
                <a:gd name="T64" fmla="*/ 175 w 1423"/>
                <a:gd name="T65" fmla="*/ 764 h 1114"/>
                <a:gd name="T66" fmla="*/ 310 w 1423"/>
                <a:gd name="T67" fmla="*/ 1008 h 1114"/>
                <a:gd name="T68" fmla="*/ 385 w 1423"/>
                <a:gd name="T69" fmla="*/ 1037 h 1114"/>
                <a:gd name="T70" fmla="*/ 400 w 1423"/>
                <a:gd name="T71" fmla="*/ 959 h 1114"/>
                <a:gd name="T72" fmla="*/ 266 w 1423"/>
                <a:gd name="T73" fmla="*/ 1026 h 1114"/>
                <a:gd name="T74" fmla="*/ 136 w 1423"/>
                <a:gd name="T75" fmla="*/ 792 h 1114"/>
                <a:gd name="T76" fmla="*/ 65 w 1423"/>
                <a:gd name="T77" fmla="*/ 764 h 1114"/>
                <a:gd name="T78" fmla="*/ 50 w 1423"/>
                <a:gd name="T79" fmla="*/ 840 h 1114"/>
                <a:gd name="T80" fmla="*/ 180 w 1423"/>
                <a:gd name="T81" fmla="*/ 1074 h 1114"/>
                <a:gd name="T82" fmla="*/ 251 w 1423"/>
                <a:gd name="T83" fmla="*/ 1101 h 1114"/>
                <a:gd name="T84" fmla="*/ 266 w 1423"/>
                <a:gd name="T85" fmla="*/ 1026 h 1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23" h="1114">
                  <a:moveTo>
                    <a:pt x="1304" y="301"/>
                  </a:moveTo>
                  <a:cubicBezTo>
                    <a:pt x="1303" y="298"/>
                    <a:pt x="1304" y="300"/>
                    <a:pt x="1302" y="297"/>
                  </a:cubicBezTo>
                  <a:cubicBezTo>
                    <a:pt x="1184" y="83"/>
                    <a:pt x="922" y="0"/>
                    <a:pt x="719" y="113"/>
                  </a:cubicBezTo>
                  <a:cubicBezTo>
                    <a:pt x="602" y="177"/>
                    <a:pt x="570" y="311"/>
                    <a:pt x="496" y="416"/>
                  </a:cubicBezTo>
                  <a:cubicBezTo>
                    <a:pt x="476" y="444"/>
                    <a:pt x="458" y="465"/>
                    <a:pt x="441" y="482"/>
                  </a:cubicBezTo>
                  <a:cubicBezTo>
                    <a:pt x="418" y="504"/>
                    <a:pt x="397" y="520"/>
                    <a:pt x="375" y="536"/>
                  </a:cubicBezTo>
                  <a:cubicBezTo>
                    <a:pt x="334" y="566"/>
                    <a:pt x="296" y="593"/>
                    <a:pt x="290" y="648"/>
                  </a:cubicBezTo>
                  <a:cubicBezTo>
                    <a:pt x="470" y="973"/>
                    <a:pt x="470" y="973"/>
                    <a:pt x="470" y="973"/>
                  </a:cubicBezTo>
                  <a:cubicBezTo>
                    <a:pt x="519" y="997"/>
                    <a:pt x="563" y="978"/>
                    <a:pt x="610" y="960"/>
                  </a:cubicBezTo>
                  <a:cubicBezTo>
                    <a:pt x="654" y="943"/>
                    <a:pt x="697" y="925"/>
                    <a:pt x="775" y="921"/>
                  </a:cubicBezTo>
                  <a:cubicBezTo>
                    <a:pt x="827" y="918"/>
                    <a:pt x="880" y="924"/>
                    <a:pt x="932" y="927"/>
                  </a:cubicBezTo>
                  <a:cubicBezTo>
                    <a:pt x="1008" y="932"/>
                    <a:pt x="1082" y="931"/>
                    <a:pt x="1151" y="893"/>
                  </a:cubicBezTo>
                  <a:cubicBezTo>
                    <a:pt x="1354" y="780"/>
                    <a:pt x="1423" y="515"/>
                    <a:pt x="1304" y="301"/>
                  </a:cubicBezTo>
                  <a:close/>
                  <a:moveTo>
                    <a:pt x="1024" y="311"/>
                  </a:moveTo>
                  <a:cubicBezTo>
                    <a:pt x="1024" y="311"/>
                    <a:pt x="1024" y="311"/>
                    <a:pt x="1024" y="311"/>
                  </a:cubicBezTo>
                  <a:cubicBezTo>
                    <a:pt x="983" y="270"/>
                    <a:pt x="917" y="279"/>
                    <a:pt x="873" y="299"/>
                  </a:cubicBezTo>
                  <a:cubicBezTo>
                    <a:pt x="873" y="299"/>
                    <a:pt x="873" y="299"/>
                    <a:pt x="873" y="299"/>
                  </a:cubicBezTo>
                  <a:cubicBezTo>
                    <a:pt x="847" y="313"/>
                    <a:pt x="814" y="304"/>
                    <a:pt x="799" y="278"/>
                  </a:cubicBezTo>
                  <a:cubicBezTo>
                    <a:pt x="785" y="251"/>
                    <a:pt x="794" y="218"/>
                    <a:pt x="821" y="203"/>
                  </a:cubicBezTo>
                  <a:cubicBezTo>
                    <a:pt x="823" y="202"/>
                    <a:pt x="828" y="200"/>
                    <a:pt x="828" y="200"/>
                  </a:cubicBezTo>
                  <a:cubicBezTo>
                    <a:pt x="927" y="155"/>
                    <a:pt x="1035" y="168"/>
                    <a:pt x="1101" y="234"/>
                  </a:cubicBezTo>
                  <a:cubicBezTo>
                    <a:pt x="1101" y="234"/>
                    <a:pt x="1106" y="240"/>
                    <a:pt x="1108" y="244"/>
                  </a:cubicBezTo>
                  <a:cubicBezTo>
                    <a:pt x="1122" y="270"/>
                    <a:pt x="1113" y="303"/>
                    <a:pt x="1087" y="318"/>
                  </a:cubicBezTo>
                  <a:cubicBezTo>
                    <a:pt x="1066" y="329"/>
                    <a:pt x="1041" y="326"/>
                    <a:pt x="1024" y="311"/>
                  </a:cubicBezTo>
                  <a:close/>
                  <a:moveTo>
                    <a:pt x="14" y="967"/>
                  </a:moveTo>
                  <a:cubicBezTo>
                    <a:pt x="53" y="1037"/>
                    <a:pt x="53" y="1037"/>
                    <a:pt x="53" y="1037"/>
                  </a:cubicBezTo>
                  <a:cubicBezTo>
                    <a:pt x="67" y="1062"/>
                    <a:pt x="94" y="1074"/>
                    <a:pt x="115" y="1064"/>
                  </a:cubicBezTo>
                  <a:cubicBezTo>
                    <a:pt x="24" y="900"/>
                    <a:pt x="24" y="900"/>
                    <a:pt x="24" y="900"/>
                  </a:cubicBezTo>
                  <a:cubicBezTo>
                    <a:pt x="5" y="912"/>
                    <a:pt x="0" y="941"/>
                    <a:pt x="14" y="967"/>
                  </a:cubicBezTo>
                  <a:close/>
                  <a:moveTo>
                    <a:pt x="400" y="959"/>
                  </a:moveTo>
                  <a:cubicBezTo>
                    <a:pt x="265" y="714"/>
                    <a:pt x="265" y="714"/>
                    <a:pt x="265" y="714"/>
                  </a:cubicBezTo>
                  <a:cubicBezTo>
                    <a:pt x="248" y="685"/>
                    <a:pt x="215" y="672"/>
                    <a:pt x="190" y="686"/>
                  </a:cubicBezTo>
                  <a:cubicBezTo>
                    <a:pt x="166" y="699"/>
                    <a:pt x="159" y="734"/>
                    <a:pt x="175" y="764"/>
                  </a:cubicBezTo>
                  <a:cubicBezTo>
                    <a:pt x="310" y="1008"/>
                    <a:pt x="310" y="1008"/>
                    <a:pt x="310" y="1008"/>
                  </a:cubicBezTo>
                  <a:cubicBezTo>
                    <a:pt x="327" y="1038"/>
                    <a:pt x="360" y="1051"/>
                    <a:pt x="385" y="1037"/>
                  </a:cubicBezTo>
                  <a:cubicBezTo>
                    <a:pt x="410" y="1023"/>
                    <a:pt x="416" y="988"/>
                    <a:pt x="400" y="959"/>
                  </a:cubicBezTo>
                  <a:close/>
                  <a:moveTo>
                    <a:pt x="266" y="1026"/>
                  </a:moveTo>
                  <a:cubicBezTo>
                    <a:pt x="136" y="792"/>
                    <a:pt x="136" y="792"/>
                    <a:pt x="136" y="792"/>
                  </a:cubicBezTo>
                  <a:cubicBezTo>
                    <a:pt x="121" y="764"/>
                    <a:pt x="89" y="751"/>
                    <a:pt x="65" y="764"/>
                  </a:cubicBezTo>
                  <a:cubicBezTo>
                    <a:pt x="41" y="778"/>
                    <a:pt x="35" y="811"/>
                    <a:pt x="50" y="840"/>
                  </a:cubicBezTo>
                  <a:cubicBezTo>
                    <a:pt x="180" y="1074"/>
                    <a:pt x="180" y="1074"/>
                    <a:pt x="180" y="1074"/>
                  </a:cubicBezTo>
                  <a:cubicBezTo>
                    <a:pt x="196" y="1102"/>
                    <a:pt x="228" y="1114"/>
                    <a:pt x="251" y="1101"/>
                  </a:cubicBezTo>
                  <a:cubicBezTo>
                    <a:pt x="275" y="1088"/>
                    <a:pt x="282" y="1055"/>
                    <a:pt x="266" y="10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8" name="Picture 7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1654"/>
            <a:stretch/>
          </p:blipFill>
          <p:spPr>
            <a:xfrm>
              <a:off x="6503087" y="4779631"/>
              <a:ext cx="266411" cy="199563"/>
            </a:xfrm>
            <a:prstGeom prst="rect">
              <a:avLst/>
            </a:prstGeom>
          </p:spPr>
        </p:pic>
      </p:grpSp>
      <p:sp>
        <p:nvSpPr>
          <p:cNvPr id="21" name="Rectangle 20"/>
          <p:cNvSpPr>
            <a:spLocks noChangeAspect="1"/>
          </p:cNvSpPr>
          <p:nvPr userDrawn="1"/>
        </p:nvSpPr>
        <p:spPr bwMode="auto">
          <a:xfrm>
            <a:off x="204050" y="228654"/>
            <a:ext cx="1096851" cy="1097534"/>
          </a:xfrm>
          <a:prstGeom prst="rect">
            <a:avLst/>
          </a:prstGeom>
          <a:solidFill>
            <a:srgbClr val="6293C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2" tIns="45702" rIns="45702" bIns="457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7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99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730016" y="2213199"/>
            <a:ext cx="2643922" cy="33247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1265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sz="2399" b="0" i="0" u="none" strike="noStrike" kern="1200" cap="none" spc="-71" normalizeH="0" baseline="0" noProof="0" dirty="0">
                <a:ln>
                  <a:noFill/>
                </a:ln>
                <a:gradFill>
                  <a:gsLst>
                    <a:gs pos="100000">
                      <a:srgbClr val="0072C6"/>
                    </a:gs>
                    <a:gs pos="0">
                      <a:srgbClr val="0072C6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+mn-cs"/>
              </a:rPr>
              <a:t>How we work today… </a:t>
            </a:r>
          </a:p>
        </p:txBody>
      </p:sp>
      <p:sp>
        <p:nvSpPr>
          <p:cNvPr id="71" name="Rectangle 70"/>
          <p:cNvSpPr/>
          <p:nvPr userDrawn="1"/>
        </p:nvSpPr>
        <p:spPr>
          <a:xfrm>
            <a:off x="6361191" y="2213199"/>
            <a:ext cx="3160784" cy="33247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1265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sz="2399" b="0" i="0" u="none" strike="noStrike" kern="1200" cap="none" spc="-71" normalizeH="0" baseline="0" noProof="0" dirty="0">
                <a:ln>
                  <a:noFill/>
                </a:ln>
                <a:gradFill>
                  <a:gsLst>
                    <a:gs pos="100000">
                      <a:srgbClr val="0072C6"/>
                    </a:gs>
                    <a:gs pos="0">
                      <a:srgbClr val="0072C6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+mn-cs"/>
              </a:rPr>
              <a:t>How we work tomorrow… </a:t>
            </a:r>
          </a:p>
        </p:txBody>
      </p:sp>
    </p:spTree>
    <p:extLst>
      <p:ext uri="{BB962C8B-B14F-4D97-AF65-F5344CB8AC3E}">
        <p14:creationId xmlns:p14="http://schemas.microsoft.com/office/powerpoint/2010/main" val="3547399837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slideLayout" Target="../slideLayouts/slideLayout79.xml"/><Relationship Id="rId39" Type="http://schemas.openxmlformats.org/officeDocument/2006/relationships/theme" Target="../theme/theme3.xml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34" Type="http://schemas.openxmlformats.org/officeDocument/2006/relationships/slideLayout" Target="../slideLayouts/slideLayout87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33" Type="http://schemas.openxmlformats.org/officeDocument/2006/relationships/slideLayout" Target="../slideLayouts/slideLayout86.xml"/><Relationship Id="rId38" Type="http://schemas.openxmlformats.org/officeDocument/2006/relationships/slideLayout" Target="../slideLayouts/slideLayout91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29" Type="http://schemas.openxmlformats.org/officeDocument/2006/relationships/slideLayout" Target="../slideLayouts/slideLayout82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32" Type="http://schemas.openxmlformats.org/officeDocument/2006/relationships/slideLayout" Target="../slideLayouts/slideLayout85.xml"/><Relationship Id="rId37" Type="http://schemas.openxmlformats.org/officeDocument/2006/relationships/slideLayout" Target="../slideLayouts/slideLayout90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slideLayout" Target="../slideLayouts/slideLayout81.xml"/><Relationship Id="rId36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31" Type="http://schemas.openxmlformats.org/officeDocument/2006/relationships/slideLayout" Target="../slideLayouts/slideLayout84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slideLayout" Target="../slideLayouts/slideLayout80.xml"/><Relationship Id="rId30" Type="http://schemas.openxmlformats.org/officeDocument/2006/relationships/slideLayout" Target="../slideLayouts/slideLayout83.xml"/><Relationship Id="rId35" Type="http://schemas.openxmlformats.org/officeDocument/2006/relationships/slideLayout" Target="../slideLayouts/slideLayout8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18" Type="http://schemas.openxmlformats.org/officeDocument/2006/relationships/slideLayout" Target="../slideLayouts/slideLayout109.xml"/><Relationship Id="rId26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slideLayout" Target="../slideLayouts/slideLayout108.xml"/><Relationship Id="rId25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107.xml"/><Relationship Id="rId20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24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6.xml"/><Relationship Id="rId23" Type="http://schemas.openxmlformats.org/officeDocument/2006/relationships/slideLayout" Target="../slideLayouts/slideLayout114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101.xml"/><Relationship Id="rId19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Relationship Id="rId22" Type="http://schemas.openxmlformats.org/officeDocument/2006/relationships/slideLayout" Target="../slideLayouts/slideLayout113.xml"/><Relationship Id="rId27" Type="http://schemas.openxmlformats.org/officeDocument/2006/relationships/slideLayout" Target="../slideLayouts/slideLayout11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121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3.xml"/><Relationship Id="rId10" Type="http://schemas.openxmlformats.org/officeDocument/2006/relationships/slideLayout" Target="../slideLayouts/slideLayout128.xml"/><Relationship Id="rId19" Type="http://schemas.openxmlformats.org/officeDocument/2006/relationships/vmlDrawing" Target="../drawings/vmlDrawing2.v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Relationship Id="rId22" Type="http://schemas.openxmlformats.org/officeDocument/2006/relationships/image" Target="../media/image40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vmlDrawing" Target="../drawings/vmlDrawing4.vml"/><Relationship Id="rId18" Type="http://schemas.openxmlformats.org/officeDocument/2006/relationships/image" Target="../media/image17.emf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theme" Target="../theme/theme6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137.xml"/><Relationship Id="rId16" Type="http://schemas.openxmlformats.org/officeDocument/2006/relationships/tags" Target="../tags/tag19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5" Type="http://schemas.openxmlformats.org/officeDocument/2006/relationships/tags" Target="../tags/tag18.xml"/><Relationship Id="rId10" Type="http://schemas.openxmlformats.org/officeDocument/2006/relationships/slideLayout" Target="../slideLayouts/slideLayout145.xml"/><Relationship Id="rId19" Type="http://schemas.openxmlformats.org/officeDocument/2006/relationships/image" Target="../media/image46.png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8822" y="291170"/>
            <a:ext cx="11651288" cy="899873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136" y="1189453"/>
            <a:ext cx="11648969" cy="218531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68822" y="6532536"/>
            <a:ext cx="8907670" cy="1905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2014 Microsoft Corporation. All rights reserved. Customer confidential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176492" y="6532536"/>
            <a:ext cx="2741613" cy="1905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4274DB-0FFC-40B0-A500-0E342E576A8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618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4" r:id="rId1"/>
    <p:sldLayoutId id="2147484145" r:id="rId2"/>
    <p:sldLayoutId id="2147484146" r:id="rId3"/>
    <p:sldLayoutId id="2147484147" r:id="rId4"/>
    <p:sldLayoutId id="2147484148" r:id="rId5"/>
    <p:sldLayoutId id="2147484149" r:id="rId6"/>
    <p:sldLayoutId id="2147484150" r:id="rId7"/>
    <p:sldLayoutId id="2147484151" r:id="rId8"/>
    <p:sldLayoutId id="2147484152" r:id="rId9"/>
    <p:sldLayoutId id="2147484153" r:id="rId10"/>
    <p:sldLayoutId id="2147484154" r:id="rId11"/>
    <p:sldLayoutId id="2147484155" r:id="rId12"/>
    <p:sldLayoutId id="2147484156" r:id="rId13"/>
    <p:sldLayoutId id="2147484157" r:id="rId14"/>
    <p:sldLayoutId id="2147484158" r:id="rId15"/>
    <p:sldLayoutId id="2147484159" r:id="rId16"/>
    <p:sldLayoutId id="2147484160" r:id="rId17"/>
    <p:sldLayoutId id="2147484161" r:id="rId18"/>
    <p:sldLayoutId id="2147484162" r:id="rId19"/>
    <p:sldLayoutId id="2147484163" r:id="rId20"/>
    <p:sldLayoutId id="2147484164" r:id="rId21"/>
    <p:sldLayoutId id="2147484165" r:id="rId22"/>
    <p:sldLayoutId id="2147484166" r:id="rId23"/>
    <p:sldLayoutId id="2147484167" r:id="rId24"/>
    <p:sldLayoutId id="2147484183" r:id="rId25"/>
    <p:sldLayoutId id="2147484184" r:id="rId26"/>
    <p:sldLayoutId id="2147484185" r:id="rId27"/>
    <p:sldLayoutId id="2147484178" r:id="rId28"/>
  </p:sldLayoutIdLst>
  <p:transition>
    <p:fade/>
  </p:transition>
  <p:hf hdr="0" dt="0"/>
  <p:txStyles>
    <p:titleStyle>
      <a:lvl1pPr algn="l" defTabSz="914087" rtl="0" eaLnBrk="1" latinLnBrk="0" hangingPunct="1">
        <a:lnSpc>
          <a:spcPct val="90000"/>
        </a:lnSpc>
        <a:spcBef>
          <a:spcPct val="0"/>
        </a:spcBef>
        <a:buNone/>
        <a:defRPr lang="en-US" sz="5292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42" marR="0" indent="-336042" algn="l" defTabSz="91408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16" marR="0" indent="-236474" algn="l" defTabSz="91408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098" marR="0" indent="-224028" algn="l" defTabSz="91408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126" marR="0" indent="-224028" algn="l" defTabSz="91408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154" marR="0" indent="-224028" algn="l" defTabSz="91408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739" indent="-228522" algn="l" defTabSz="914087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84" indent="-228522" algn="l" defTabSz="914087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27" indent="-228522" algn="l" defTabSz="914087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72" indent="-228522" algn="l" defTabSz="914087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87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44" algn="l" defTabSz="914087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087" algn="l" defTabSz="914087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1" algn="l" defTabSz="914087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174" algn="l" defTabSz="914087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219" algn="l" defTabSz="914087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261" algn="l" defTabSz="914087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305" algn="l" defTabSz="914087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350" algn="l" defTabSz="914087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135" y="289578"/>
            <a:ext cx="11651288" cy="899873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136" y="1189453"/>
            <a:ext cx="11648969" cy="1832163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69135" y="6358275"/>
            <a:ext cx="4113232" cy="3643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87"/>
            <a:endParaRPr lang="en-US" dirty="0">
              <a:solidFill>
                <a:srgbClr val="505050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246994" y="6358275"/>
            <a:ext cx="2741117" cy="3643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87"/>
            <a:fld id="{9D0AA2A1-1348-46C8-A3B3-D7EE06065DE4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14087"/>
              <a:t>‹#›</a:t>
            </a:fld>
            <a:endParaRPr lang="en-US" dirty="0">
              <a:solidFill>
                <a:srgbClr val="50505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572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5" r:id="rId1"/>
    <p:sldLayoutId id="2147484196" r:id="rId2"/>
    <p:sldLayoutId id="2147484197" r:id="rId3"/>
    <p:sldLayoutId id="2147484198" r:id="rId4"/>
    <p:sldLayoutId id="2147484199" r:id="rId5"/>
    <p:sldLayoutId id="2147484200" r:id="rId6"/>
    <p:sldLayoutId id="2147484201" r:id="rId7"/>
    <p:sldLayoutId id="2147484202" r:id="rId8"/>
    <p:sldLayoutId id="2147484203" r:id="rId9"/>
    <p:sldLayoutId id="2147484204" r:id="rId10"/>
    <p:sldLayoutId id="2147484205" r:id="rId11"/>
    <p:sldLayoutId id="2147484206" r:id="rId12"/>
    <p:sldLayoutId id="2147484207" r:id="rId13"/>
    <p:sldLayoutId id="2147484208" r:id="rId14"/>
    <p:sldLayoutId id="2147484209" r:id="rId15"/>
    <p:sldLayoutId id="2147484210" r:id="rId16"/>
    <p:sldLayoutId id="2147484211" r:id="rId17"/>
    <p:sldLayoutId id="2147484212" r:id="rId18"/>
    <p:sldLayoutId id="2147484213" r:id="rId19"/>
    <p:sldLayoutId id="2147484214" r:id="rId20"/>
    <p:sldLayoutId id="2147484215" r:id="rId21"/>
    <p:sldLayoutId id="2147484216" r:id="rId22"/>
    <p:sldLayoutId id="2147484217" r:id="rId23"/>
    <p:sldLayoutId id="2147484219" r:id="rId24"/>
    <p:sldLayoutId id="2147484220" r:id="rId25"/>
  </p:sldLayoutIdLst>
  <p:transition>
    <p:fade/>
  </p:transition>
  <p:hf hdr="0" dt="0"/>
  <p:txStyles>
    <p:titleStyle>
      <a:lvl1pPr algn="l" defTabSz="914087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42" marR="0" indent="-336042" algn="l" defTabSz="91408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5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16" marR="0" indent="-236474" algn="l" defTabSz="91408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098" marR="0" indent="-224028" algn="l" defTabSz="91408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126" marR="0" indent="-224028" algn="l" defTabSz="91408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56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154" marR="0" indent="-224028" algn="l" defTabSz="91408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56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739" indent="-228522" algn="l" defTabSz="914087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84" indent="-228522" algn="l" defTabSz="914087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27" indent="-228522" algn="l" defTabSz="914087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72" indent="-228522" algn="l" defTabSz="914087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87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44" algn="l" defTabSz="914087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087" algn="l" defTabSz="914087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1" algn="l" defTabSz="914087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174" algn="l" defTabSz="914087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219" algn="l" defTabSz="914087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261" algn="l" defTabSz="914087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305" algn="l" defTabSz="914087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350" algn="l" defTabSz="914087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73">
          <p15:clr>
            <a:srgbClr val="5ACBF0"/>
          </p15:clr>
        </p15:guide>
        <p15:guide id="2" pos="749">
          <p15:clr>
            <a:srgbClr val="5ACBF0"/>
          </p15:clr>
        </p15:guide>
        <p15:guide id="3" pos="1325">
          <p15:clr>
            <a:srgbClr val="5ACBF0"/>
          </p15:clr>
        </p15:guide>
        <p15:guide id="4" pos="1901">
          <p15:clr>
            <a:srgbClr val="5ACBF0"/>
          </p15:clr>
        </p15:guide>
        <p15:guide id="5" pos="2477">
          <p15:clr>
            <a:srgbClr val="5ACBF0"/>
          </p15:clr>
        </p15:guide>
        <p15:guide id="6" pos="3053">
          <p15:clr>
            <a:srgbClr val="5ACBF0"/>
          </p15:clr>
        </p15:guide>
        <p15:guide id="7" pos="3629">
          <p15:clr>
            <a:srgbClr val="5ACBF0"/>
          </p15:clr>
        </p15:guide>
        <p15:guide id="8" pos="4205">
          <p15:clr>
            <a:srgbClr val="5ACBF0"/>
          </p15:clr>
        </p15:guide>
        <p15:guide id="9" pos="4781">
          <p15:clr>
            <a:srgbClr val="5ACBF0"/>
          </p15:clr>
        </p15:guide>
        <p15:guide id="10" pos="5357">
          <p15:clr>
            <a:srgbClr val="5ACBF0"/>
          </p15:clr>
        </p15:guide>
        <p15:guide id="11" pos="5933">
          <p15:clr>
            <a:srgbClr val="5ACBF0"/>
          </p15:clr>
        </p15:guide>
        <p15:guide id="12" pos="6509">
          <p15:clr>
            <a:srgbClr val="5ACBF0"/>
          </p15:clr>
        </p15:guide>
        <p15:guide id="13" pos="7085">
          <p15:clr>
            <a:srgbClr val="5ACBF0"/>
          </p15:clr>
        </p15:guide>
        <p15:guide id="14" pos="7661">
          <p15:clr>
            <a:srgbClr val="5ACBF0"/>
          </p15:clr>
        </p15:guide>
        <p15:guide id="15" pos="288">
          <p15:clr>
            <a:srgbClr val="C35EA4"/>
          </p15:clr>
        </p15:guide>
        <p15:guide id="16" pos="7546">
          <p15:clr>
            <a:srgbClr val="C35EA4"/>
          </p15:clr>
        </p15:guide>
        <p15:guide id="17" orient="horz" pos="187">
          <p15:clr>
            <a:srgbClr val="5ACBF0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4104">
          <p15:clr>
            <a:srgbClr val="C35EA4"/>
          </p15:clr>
        </p15:guide>
        <p15:guide id="26" orient="horz" pos="302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8822" y="291171"/>
            <a:ext cx="11651288" cy="899873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137" y="1189453"/>
            <a:ext cx="11648969" cy="218531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1560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3" r:id="rId1"/>
    <p:sldLayoutId id="2147484224" r:id="rId2"/>
    <p:sldLayoutId id="2147484225" r:id="rId3"/>
    <p:sldLayoutId id="2147484226" r:id="rId4"/>
    <p:sldLayoutId id="2147484227" r:id="rId5"/>
    <p:sldLayoutId id="2147484228" r:id="rId6"/>
    <p:sldLayoutId id="2147484229" r:id="rId7"/>
    <p:sldLayoutId id="2147484230" r:id="rId8"/>
    <p:sldLayoutId id="2147484231" r:id="rId9"/>
    <p:sldLayoutId id="2147484232" r:id="rId10"/>
    <p:sldLayoutId id="2147484233" r:id="rId11"/>
    <p:sldLayoutId id="2147484234" r:id="rId12"/>
    <p:sldLayoutId id="2147484235" r:id="rId13"/>
    <p:sldLayoutId id="2147484236" r:id="rId14"/>
    <p:sldLayoutId id="2147484237" r:id="rId15"/>
    <p:sldLayoutId id="2147484238" r:id="rId16"/>
    <p:sldLayoutId id="2147484239" r:id="rId17"/>
    <p:sldLayoutId id="2147484240" r:id="rId18"/>
    <p:sldLayoutId id="2147484241" r:id="rId19"/>
    <p:sldLayoutId id="2147484242" r:id="rId20"/>
    <p:sldLayoutId id="2147484243" r:id="rId21"/>
    <p:sldLayoutId id="2147484244" r:id="rId22"/>
    <p:sldLayoutId id="2147484245" r:id="rId23"/>
    <p:sldLayoutId id="2147484246" r:id="rId24"/>
    <p:sldLayoutId id="2147484247" r:id="rId25"/>
    <p:sldLayoutId id="2147484248" r:id="rId26"/>
    <p:sldLayoutId id="2147484249" r:id="rId27"/>
    <p:sldLayoutId id="2147484250" r:id="rId28"/>
    <p:sldLayoutId id="2147484251" r:id="rId29"/>
    <p:sldLayoutId id="2147484252" r:id="rId30"/>
    <p:sldLayoutId id="2147484253" r:id="rId31"/>
    <p:sldLayoutId id="2147484254" r:id="rId32"/>
    <p:sldLayoutId id="2147484255" r:id="rId33"/>
    <p:sldLayoutId id="2147484256" r:id="rId34"/>
    <p:sldLayoutId id="2147484258" r:id="rId35"/>
    <p:sldLayoutId id="2147484259" r:id="rId36"/>
    <p:sldLayoutId id="2147484260" r:id="rId37"/>
    <p:sldLayoutId id="2147484261" r:id="rId38"/>
  </p:sldLayoutIdLst>
  <p:transition>
    <p:fade/>
  </p:transition>
  <p:txStyles>
    <p:titleStyle>
      <a:lvl1pPr algn="l" defTabSz="913453" rtl="0" eaLnBrk="1" latinLnBrk="0" hangingPunct="1">
        <a:lnSpc>
          <a:spcPct val="90000"/>
        </a:lnSpc>
        <a:spcBef>
          <a:spcPct val="0"/>
        </a:spcBef>
        <a:buNone/>
        <a:defRPr lang="en-US" sz="5288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5809" marR="0" indent="-335809" algn="l" defTabSz="91345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119" marR="0" indent="-236310" algn="l" defTabSz="91345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3554" marR="0" indent="-223872" algn="l" defTabSz="91345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7426" marR="0" indent="-223872" algn="l" defTabSz="91345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5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1298" marR="0" indent="-223872" algn="l" defTabSz="91345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5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1995" indent="-228364" algn="l" defTabSz="913453" rtl="0" eaLnBrk="1" latinLnBrk="0" hangingPunct="1">
        <a:spcBef>
          <a:spcPct val="20000"/>
        </a:spcBef>
        <a:buFont typeface="Arial" pitchFamily="34" charset="0"/>
        <a:buChar char="•"/>
        <a:defRPr sz="1959" kern="1200">
          <a:solidFill>
            <a:schemeClr val="tx1"/>
          </a:solidFill>
          <a:latin typeface="+mn-lt"/>
          <a:ea typeface="+mn-ea"/>
          <a:cs typeface="+mn-cs"/>
        </a:defRPr>
      </a:lvl6pPr>
      <a:lvl7pPr marL="2968722" indent="-228364" algn="l" defTabSz="913453" rtl="0" eaLnBrk="1" latinLnBrk="0" hangingPunct="1">
        <a:spcBef>
          <a:spcPct val="20000"/>
        </a:spcBef>
        <a:buFont typeface="Arial" pitchFamily="34" charset="0"/>
        <a:buChar char="•"/>
        <a:defRPr sz="1959" kern="1200">
          <a:solidFill>
            <a:schemeClr val="tx1"/>
          </a:solidFill>
          <a:latin typeface="+mn-lt"/>
          <a:ea typeface="+mn-ea"/>
          <a:cs typeface="+mn-cs"/>
        </a:defRPr>
      </a:lvl7pPr>
      <a:lvl8pPr marL="3425448" indent="-228364" algn="l" defTabSz="913453" rtl="0" eaLnBrk="1" latinLnBrk="0" hangingPunct="1">
        <a:spcBef>
          <a:spcPct val="20000"/>
        </a:spcBef>
        <a:buFont typeface="Arial" pitchFamily="34" charset="0"/>
        <a:buChar char="•"/>
        <a:defRPr sz="1959" kern="1200">
          <a:solidFill>
            <a:schemeClr val="tx1"/>
          </a:solidFill>
          <a:latin typeface="+mn-lt"/>
          <a:ea typeface="+mn-ea"/>
          <a:cs typeface="+mn-cs"/>
        </a:defRPr>
      </a:lvl8pPr>
      <a:lvl9pPr marL="3882176" indent="-228364" algn="l" defTabSz="913453" rtl="0" eaLnBrk="1" latinLnBrk="0" hangingPunct="1">
        <a:spcBef>
          <a:spcPct val="20000"/>
        </a:spcBef>
        <a:buFont typeface="Arial" pitchFamily="34" charset="0"/>
        <a:buChar char="•"/>
        <a:defRPr sz="195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453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1pPr>
      <a:lvl2pPr marL="456727" algn="l" defTabSz="913453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2pPr>
      <a:lvl3pPr marL="913453" algn="l" defTabSz="913453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3pPr>
      <a:lvl4pPr marL="1370179" algn="l" defTabSz="913453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4pPr>
      <a:lvl5pPr marL="1826905" algn="l" defTabSz="913453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5pPr>
      <a:lvl6pPr marL="2283633" algn="l" defTabSz="913453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6pPr>
      <a:lvl7pPr marL="2740358" algn="l" defTabSz="913453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7pPr>
      <a:lvl8pPr marL="3197084" algn="l" defTabSz="913453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8pPr>
      <a:lvl9pPr marL="3653812" algn="l" defTabSz="913453" rtl="0" eaLnBrk="1" latinLnBrk="0" hangingPunct="1">
        <a:defRPr sz="17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9047" y="228656"/>
            <a:ext cx="11147561" cy="74807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20633" y="1448138"/>
            <a:ext cx="11150737" cy="20564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388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7" r:id="rId1"/>
    <p:sldLayoutId id="2147484268" r:id="rId2"/>
    <p:sldLayoutId id="2147484269" r:id="rId3"/>
    <p:sldLayoutId id="2147484270" r:id="rId4"/>
    <p:sldLayoutId id="2147484271" r:id="rId5"/>
    <p:sldLayoutId id="2147484272" r:id="rId6"/>
    <p:sldLayoutId id="2147484273" r:id="rId7"/>
    <p:sldLayoutId id="2147484274" r:id="rId8"/>
    <p:sldLayoutId id="2147484275" r:id="rId9"/>
    <p:sldLayoutId id="2147484276" r:id="rId10"/>
    <p:sldLayoutId id="2147484277" r:id="rId11"/>
    <p:sldLayoutId id="2147484278" r:id="rId12"/>
    <p:sldLayoutId id="2147484279" r:id="rId13"/>
    <p:sldLayoutId id="2147484280" r:id="rId14"/>
    <p:sldLayoutId id="2147484281" r:id="rId15"/>
    <p:sldLayoutId id="2147484282" r:id="rId16"/>
    <p:sldLayoutId id="2147484283" r:id="rId17"/>
    <p:sldLayoutId id="2147484284" r:id="rId18"/>
    <p:sldLayoutId id="2147484285" r:id="rId19"/>
    <p:sldLayoutId id="2147484286" r:id="rId20"/>
    <p:sldLayoutId id="2147484287" r:id="rId21"/>
    <p:sldLayoutId id="2147484288" r:id="rId22"/>
    <p:sldLayoutId id="2147484289" r:id="rId23"/>
    <p:sldLayoutId id="2147484290" r:id="rId24"/>
    <p:sldLayoutId id="2147484291" r:id="rId25"/>
    <p:sldLayoutId id="2147484292" r:id="rId26"/>
    <p:sldLayoutId id="2147484293" r:id="rId27"/>
  </p:sldLayoutIdLst>
  <p:transition>
    <p:fade/>
  </p:transition>
  <p:txStyles>
    <p:titleStyle>
      <a:lvl1pPr algn="l" defTabSz="912657" rtl="0" eaLnBrk="1" latinLnBrk="0" hangingPunct="1">
        <a:lnSpc>
          <a:spcPct val="90000"/>
        </a:lnSpc>
        <a:spcBef>
          <a:spcPct val="0"/>
        </a:spcBef>
        <a:buNone/>
        <a:defRPr lang="en-US" sz="5498" b="0" kern="1200" cap="none" spc="-100" baseline="0" dirty="0" smtClean="0">
          <a:ln w="3175">
            <a:noFill/>
          </a:ln>
          <a:gradFill>
            <a:gsLst>
              <a:gs pos="1250">
                <a:schemeClr val="tx2"/>
              </a:gs>
              <a:gs pos="100000">
                <a:schemeClr val="tx2"/>
              </a:gs>
            </a:gsLst>
            <a:lin ang="5400000" scaled="0"/>
          </a:gradFill>
          <a:effectLst/>
          <a:latin typeface="+mj-lt"/>
          <a:ea typeface="+mn-ea"/>
          <a:cs typeface="Arial" charset="0"/>
        </a:defRPr>
      </a:lvl1pPr>
    </p:titleStyle>
    <p:bodyStyle>
      <a:lvl1pPr marL="339091" marR="0" indent="-339091" algn="l" defTabSz="91265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80000"/>
        <a:buFont typeface="Arial" pitchFamily="34" charset="0"/>
        <a:buChar char="•"/>
        <a:tabLst/>
        <a:defRPr sz="3599" kern="1200" spc="-71" baseline="0">
          <a:gradFill>
            <a:gsLst>
              <a:gs pos="1250">
                <a:schemeClr val="bg2"/>
              </a:gs>
              <a:gs pos="100000">
                <a:schemeClr val="bg2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018" marR="0" indent="-232928" algn="l" defTabSz="91265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399" kern="1200" spc="0" baseline="0">
          <a:gradFill>
            <a:gsLst>
              <a:gs pos="1250">
                <a:schemeClr val="bg2"/>
              </a:gs>
              <a:gs pos="100000">
                <a:schemeClr val="bg2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7023" marR="0" indent="-225004" algn="l" defTabSz="91265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797023" algn="l"/>
        </a:tabLst>
        <a:defRPr sz="2399" kern="1200" spc="0" baseline="0">
          <a:gradFill>
            <a:gsLst>
              <a:gs pos="1250">
                <a:schemeClr val="bg2"/>
              </a:gs>
              <a:gs pos="100000">
                <a:schemeClr val="bg2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365" marR="0" indent="-231341" algn="l" defTabSz="91265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1999" kern="1200" spc="0" baseline="0">
          <a:gradFill>
            <a:gsLst>
              <a:gs pos="1250">
                <a:schemeClr val="bg2"/>
              </a:gs>
              <a:gs pos="100000">
                <a:schemeClr val="bg2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3369" marR="0" indent="-225004" algn="l" defTabSz="91265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1253369" algn="l"/>
        </a:tabLst>
        <a:defRPr sz="1999" kern="1200" spc="0" baseline="0">
          <a:gradFill>
            <a:gsLst>
              <a:gs pos="1250">
                <a:schemeClr val="bg2"/>
              </a:gs>
              <a:gs pos="100000">
                <a:schemeClr val="bg2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09807" indent="-228165" algn="l" defTabSz="912657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66135" indent="-228165" algn="l" defTabSz="912657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2463" indent="-228165" algn="l" defTabSz="912657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78792" indent="-228165" algn="l" defTabSz="912657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65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1pPr>
      <a:lvl2pPr marL="456328" algn="l" defTabSz="91265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2pPr>
      <a:lvl3pPr marL="912657" algn="l" defTabSz="91265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3pPr>
      <a:lvl4pPr marL="1368985" algn="l" defTabSz="91265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4pPr>
      <a:lvl5pPr marL="1825314" algn="l" defTabSz="91265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5pPr>
      <a:lvl6pPr marL="2281642" algn="l" defTabSz="91265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6pPr>
      <a:lvl7pPr marL="2737970" algn="l" defTabSz="91265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7pPr>
      <a:lvl8pPr marL="3194300" algn="l" defTabSz="91265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8pPr>
      <a:lvl9pPr marL="3650628" algn="l" defTabSz="91265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/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21" imgW="383" imgH="384" progId="TCLayout.ActiveDocument.1">
                  <p:embed/>
                </p:oleObj>
              </mc:Choice>
              <mc:Fallback>
                <p:oleObj name="think-cell Slide" r:id="rId21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187238" cy="646192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046810" y="6479374"/>
            <a:ext cx="8378726" cy="380215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7670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0794" y="1600572"/>
            <a:ext cx="11885652" cy="4560587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25538" y="6479374"/>
            <a:ext cx="761700" cy="3802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7670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7670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4519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5" r:id="rId1"/>
    <p:sldLayoutId id="2147484296" r:id="rId2"/>
    <p:sldLayoutId id="2147484297" r:id="rId3"/>
    <p:sldLayoutId id="2147484298" r:id="rId4"/>
    <p:sldLayoutId id="2147484299" r:id="rId5"/>
    <p:sldLayoutId id="2147484300" r:id="rId6"/>
    <p:sldLayoutId id="2147484301" r:id="rId7"/>
    <p:sldLayoutId id="2147484302" r:id="rId8"/>
    <p:sldLayoutId id="2147484303" r:id="rId9"/>
    <p:sldLayoutId id="2147484304" r:id="rId10"/>
    <p:sldLayoutId id="2147484305" r:id="rId11"/>
    <p:sldLayoutId id="2147484306" r:id="rId12"/>
    <p:sldLayoutId id="2147484307" r:id="rId13"/>
    <p:sldLayoutId id="2147484308" r:id="rId14"/>
    <p:sldLayoutId id="2147484309" r:id="rId15"/>
    <p:sldLayoutId id="2147484310" r:id="rId16"/>
    <p:sldLayoutId id="2147484311" r:id="rId17"/>
  </p:sldLayoutIdLst>
  <p:transition>
    <p:fade/>
  </p:transition>
  <p:hf hdr="0" ftr="0" dt="0"/>
  <p:txStyles>
    <p:titleStyle>
      <a:lvl1pPr marL="0" algn="l" defTabSz="1087670" rtl="0" eaLnBrk="1" latinLnBrk="0" hangingPunct="1">
        <a:lnSpc>
          <a:spcPct val="90000"/>
        </a:lnSpc>
        <a:spcBef>
          <a:spcPct val="0"/>
        </a:spcBef>
        <a:buNone/>
        <a:defRPr lang="en-US" sz="3998" kern="1200" spc="-58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087670" rtl="0" eaLnBrk="1" latinLnBrk="0" hangingPunct="1">
        <a:spcBef>
          <a:spcPts val="1799"/>
        </a:spcBef>
        <a:buClr>
          <a:srgbClr val="0072C6"/>
        </a:buClr>
        <a:buSzPct val="100000"/>
        <a:buFont typeface="Wingdings" pitchFamily="2" charset="2"/>
        <a:buNone/>
        <a:defRPr sz="2399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5880" indent="-194318" algn="l" defTabSz="1087670" rtl="0" eaLnBrk="1" latinLnBrk="0" hangingPunct="1">
        <a:spcBef>
          <a:spcPct val="20000"/>
        </a:spcBef>
        <a:buFont typeface="Arial" pitchFamily="34" charset="0"/>
        <a:buChar char="•"/>
        <a:defRPr sz="1799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407" indent="-173167" algn="l" defTabSz="1087670" rtl="0" eaLnBrk="1" latinLnBrk="0" hangingPunct="1">
        <a:spcBef>
          <a:spcPct val="20000"/>
        </a:spcBef>
        <a:buFont typeface="Arial" pitchFamily="34" charset="0"/>
        <a:buChar char="•"/>
        <a:defRPr sz="1599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6935" indent="-177133" algn="l" defTabSz="1087670" rtl="0" eaLnBrk="1" latinLnBrk="0" hangingPunct="1">
        <a:spcBef>
          <a:spcPct val="20000"/>
        </a:spcBef>
        <a:buFont typeface="Arial" pitchFamily="34" charset="0"/>
        <a:buChar char="–"/>
        <a:defRPr sz="1399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4875" indent="-179777" algn="l" defTabSz="1087670" rtl="0" eaLnBrk="1" latinLnBrk="0" hangingPunct="1">
        <a:spcBef>
          <a:spcPct val="20000"/>
        </a:spcBef>
        <a:buFont typeface="Arial" pitchFamily="34" charset="0"/>
        <a:buChar char="»"/>
        <a:defRPr sz="1399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1093" indent="-271917" algn="l" defTabSz="1087670" rtl="0" eaLnBrk="1" latinLnBrk="0" hangingPunct="1">
        <a:spcBef>
          <a:spcPct val="20000"/>
        </a:spcBef>
        <a:buFont typeface="Arial" pitchFamily="34" charset="0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534927" indent="-271917" algn="l" defTabSz="1087670" rtl="0" eaLnBrk="1" latinLnBrk="0" hangingPunct="1">
        <a:spcBef>
          <a:spcPct val="20000"/>
        </a:spcBef>
        <a:buFont typeface="Arial" pitchFamily="34" charset="0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078764" indent="-271917" algn="l" defTabSz="1087670" rtl="0" eaLnBrk="1" latinLnBrk="0" hangingPunct="1">
        <a:spcBef>
          <a:spcPct val="20000"/>
        </a:spcBef>
        <a:buFont typeface="Arial" pitchFamily="34" charset="0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4622598" indent="-271917" algn="l" defTabSz="1087670" rtl="0" eaLnBrk="1" latinLnBrk="0" hangingPunct="1">
        <a:spcBef>
          <a:spcPct val="20000"/>
        </a:spcBef>
        <a:buFont typeface="Arial" pitchFamily="34" charset="0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7670" rtl="0" eaLnBrk="1" latinLnBrk="0" hangingPunct="1">
        <a:defRPr sz="2199" kern="1200">
          <a:solidFill>
            <a:schemeClr val="tx1"/>
          </a:solidFill>
          <a:latin typeface="+mn-lt"/>
          <a:ea typeface="+mn-ea"/>
          <a:cs typeface="+mn-cs"/>
        </a:defRPr>
      </a:lvl1pPr>
      <a:lvl2pPr marL="543835" algn="l" defTabSz="1087670" rtl="0" eaLnBrk="1" latinLnBrk="0" hangingPunct="1">
        <a:defRPr sz="2199" kern="1200">
          <a:solidFill>
            <a:schemeClr val="tx1"/>
          </a:solidFill>
          <a:latin typeface="+mn-lt"/>
          <a:ea typeface="+mn-ea"/>
          <a:cs typeface="+mn-cs"/>
        </a:defRPr>
      </a:lvl2pPr>
      <a:lvl3pPr marL="1087670" algn="l" defTabSz="1087670" rtl="0" eaLnBrk="1" latinLnBrk="0" hangingPunct="1">
        <a:defRPr sz="2199" kern="1200">
          <a:solidFill>
            <a:schemeClr val="tx1"/>
          </a:solidFill>
          <a:latin typeface="+mn-lt"/>
          <a:ea typeface="+mn-ea"/>
          <a:cs typeface="+mn-cs"/>
        </a:defRPr>
      </a:lvl3pPr>
      <a:lvl4pPr marL="1631506" algn="l" defTabSz="1087670" rtl="0" eaLnBrk="1" latinLnBrk="0" hangingPunct="1">
        <a:defRPr sz="2199" kern="1200">
          <a:solidFill>
            <a:schemeClr val="tx1"/>
          </a:solidFill>
          <a:latin typeface="+mn-lt"/>
          <a:ea typeface="+mn-ea"/>
          <a:cs typeface="+mn-cs"/>
        </a:defRPr>
      </a:lvl4pPr>
      <a:lvl5pPr marL="2175341" algn="l" defTabSz="1087670" rtl="0" eaLnBrk="1" latinLnBrk="0" hangingPunct="1">
        <a:defRPr sz="2199" kern="1200">
          <a:solidFill>
            <a:schemeClr val="tx1"/>
          </a:solidFill>
          <a:latin typeface="+mn-lt"/>
          <a:ea typeface="+mn-ea"/>
          <a:cs typeface="+mn-cs"/>
        </a:defRPr>
      </a:lvl5pPr>
      <a:lvl6pPr marL="2719176" algn="l" defTabSz="1087670" rtl="0" eaLnBrk="1" latinLnBrk="0" hangingPunct="1">
        <a:defRPr sz="2199" kern="1200">
          <a:solidFill>
            <a:schemeClr val="tx1"/>
          </a:solidFill>
          <a:latin typeface="+mn-lt"/>
          <a:ea typeface="+mn-ea"/>
          <a:cs typeface="+mn-cs"/>
        </a:defRPr>
      </a:lvl6pPr>
      <a:lvl7pPr marL="3263010" algn="l" defTabSz="1087670" rtl="0" eaLnBrk="1" latinLnBrk="0" hangingPunct="1">
        <a:defRPr sz="2199" kern="1200">
          <a:solidFill>
            <a:schemeClr val="tx1"/>
          </a:solidFill>
          <a:latin typeface="+mn-lt"/>
          <a:ea typeface="+mn-ea"/>
          <a:cs typeface="+mn-cs"/>
        </a:defRPr>
      </a:lvl7pPr>
      <a:lvl8pPr marL="3806846" algn="l" defTabSz="1087670" rtl="0" eaLnBrk="1" latinLnBrk="0" hangingPunct="1">
        <a:defRPr sz="2199" kern="1200">
          <a:solidFill>
            <a:schemeClr val="tx1"/>
          </a:solidFill>
          <a:latin typeface="+mn-lt"/>
          <a:ea typeface="+mn-ea"/>
          <a:cs typeface="+mn-cs"/>
        </a:defRPr>
      </a:lvl8pPr>
      <a:lvl9pPr marL="4350681" algn="l" defTabSz="1087670" rtl="0" eaLnBrk="1" latinLnBrk="0" hangingPunct="1">
        <a:defRPr sz="21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519046" y="228655"/>
            <a:ext cx="11147561" cy="74807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519045" y="1448135"/>
            <a:ext cx="11147560" cy="20010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3035" y="6372579"/>
            <a:ext cx="1548380" cy="489209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594775" y="6372579"/>
            <a:ext cx="2438082" cy="400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rvices</a:t>
            </a:r>
          </a:p>
        </p:txBody>
      </p:sp>
    </p:spTree>
    <p:extLst>
      <p:ext uri="{BB962C8B-B14F-4D97-AF65-F5344CB8AC3E}">
        <p14:creationId xmlns:p14="http://schemas.microsoft.com/office/powerpoint/2010/main" val="290932521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13" r:id="rId1"/>
    <p:sldLayoutId id="2147484314" r:id="rId2"/>
    <p:sldLayoutId id="2147484315" r:id="rId3"/>
    <p:sldLayoutId id="2147484316" r:id="rId4"/>
    <p:sldLayoutId id="2147484317" r:id="rId5"/>
    <p:sldLayoutId id="2147484318" r:id="rId6"/>
    <p:sldLayoutId id="2147484319" r:id="rId7"/>
    <p:sldLayoutId id="2147484320" r:id="rId8"/>
    <p:sldLayoutId id="2147484321" r:id="rId9"/>
    <p:sldLayoutId id="2147484322" r:id="rId10"/>
    <p:sldLayoutId id="2147484323" r:id="rId11"/>
  </p:sldLayoutIdLst>
  <p:transition>
    <p:fade/>
  </p:transition>
  <p:hf hdr="0" ftr="0" dt="0"/>
  <p:txStyles>
    <p:titleStyle>
      <a:lvl1pPr algn="l" defTabSz="913997" rtl="0" eaLnBrk="1" latinLnBrk="0" hangingPunct="1">
        <a:lnSpc>
          <a:spcPct val="90000"/>
        </a:lnSpc>
        <a:spcBef>
          <a:spcPct val="0"/>
        </a:spcBef>
        <a:buNone/>
        <a:defRPr lang="en-US" sz="5398" b="0" kern="1200" cap="none" spc="-100" baseline="0" dirty="0" smtClean="0">
          <a:ln w="3175">
            <a:solidFill>
              <a:schemeClr val="tx1">
                <a:alpha val="0"/>
              </a:schemeClr>
            </a:solidFill>
          </a:ln>
          <a:solidFill>
            <a:srgbClr val="FFFFFF"/>
          </a:solidFill>
          <a:effectLst/>
          <a:latin typeface="Segoe UI Light" pitchFamily="34" charset="0"/>
          <a:ea typeface="+mn-ea"/>
          <a:cs typeface="Segoe UI"/>
        </a:defRPr>
      </a:lvl1pPr>
    </p:titleStyle>
    <p:bodyStyle>
      <a:lvl1pPr marL="345937" indent="-345937" algn="l" defTabSz="913997" rtl="0" eaLnBrk="1" latinLnBrk="0" hangingPunct="1">
        <a:lnSpc>
          <a:spcPct val="90000"/>
        </a:lnSpc>
        <a:spcBef>
          <a:spcPct val="20000"/>
        </a:spcBef>
        <a:buSzPct val="90000"/>
        <a:buFont typeface="Arial" pitchFamily="34" charset="0"/>
        <a:buChar char="•"/>
        <a:defRPr sz="3199" kern="1200">
          <a:ln>
            <a:solidFill>
              <a:schemeClr val="tx1">
                <a:alpha val="0"/>
              </a:schemeClr>
            </a:solidFill>
          </a:ln>
          <a:solidFill>
            <a:srgbClr val="FFFFFF"/>
          </a:solidFill>
          <a:latin typeface="+mn-lt"/>
          <a:ea typeface="+mn-ea"/>
          <a:cs typeface="+mn-cs"/>
        </a:defRPr>
      </a:lvl1pPr>
      <a:lvl2pPr marL="629986" indent="-284049" algn="l" defTabSz="913997" rtl="0" eaLnBrk="1" latinLnBrk="0" hangingPunct="1">
        <a:lnSpc>
          <a:spcPct val="90000"/>
        </a:lnSpc>
        <a:spcBef>
          <a:spcPct val="20000"/>
        </a:spcBef>
        <a:buSzPct val="90000"/>
        <a:buFont typeface="Arial" pitchFamily="34" charset="0"/>
        <a:buChar char="•"/>
        <a:tabLst>
          <a:tab pos="629986" algn="l"/>
        </a:tabLst>
        <a:defRPr sz="2799" kern="1200">
          <a:ln>
            <a:solidFill>
              <a:schemeClr val="tx1">
                <a:alpha val="0"/>
              </a:schemeClr>
            </a:solidFill>
          </a:ln>
          <a:solidFill>
            <a:srgbClr val="FFFFFF"/>
          </a:solidFill>
          <a:latin typeface="+mn-lt"/>
          <a:ea typeface="+mn-ea"/>
          <a:cs typeface="+mn-cs"/>
        </a:defRPr>
      </a:lvl2pPr>
      <a:lvl3pPr marL="914034" indent="-284049" algn="l" defTabSz="913997" rtl="0" eaLnBrk="1" latinLnBrk="0" hangingPunct="1">
        <a:lnSpc>
          <a:spcPct val="90000"/>
        </a:lnSpc>
        <a:spcBef>
          <a:spcPct val="20000"/>
        </a:spcBef>
        <a:buSzPct val="90000"/>
        <a:buFont typeface="Arial" pitchFamily="34" charset="0"/>
        <a:buChar char="•"/>
        <a:defRPr sz="2399" kern="1200">
          <a:ln>
            <a:solidFill>
              <a:schemeClr val="tx1">
                <a:alpha val="0"/>
              </a:schemeClr>
            </a:solidFill>
          </a:ln>
          <a:solidFill>
            <a:srgbClr val="FFFFFF"/>
          </a:solidFill>
          <a:latin typeface="+mn-lt"/>
          <a:ea typeface="+mn-ea"/>
          <a:cs typeface="+mn-cs"/>
        </a:defRPr>
      </a:lvl3pPr>
      <a:lvl4pPr marL="1482132" indent="-223748" algn="l" defTabSz="913997" rtl="0" eaLnBrk="1" latinLnBrk="0" hangingPunct="1">
        <a:lnSpc>
          <a:spcPct val="90000"/>
        </a:lnSpc>
        <a:spcBef>
          <a:spcPct val="20000"/>
        </a:spcBef>
        <a:buSzPct val="90000"/>
        <a:buFont typeface="Arial" pitchFamily="34" charset="0"/>
        <a:buChar char="•"/>
        <a:tabLst>
          <a:tab pos="914034" algn="l"/>
        </a:tabLst>
        <a:defRPr sz="1999" kern="1200">
          <a:ln>
            <a:solidFill>
              <a:schemeClr val="tx1">
                <a:alpha val="0"/>
              </a:schemeClr>
            </a:solidFill>
          </a:ln>
          <a:solidFill>
            <a:srgbClr val="FFFFFF"/>
          </a:solidFill>
          <a:latin typeface="+mn-lt"/>
          <a:ea typeface="+mn-ea"/>
          <a:cs typeface="+mn-cs"/>
        </a:defRPr>
      </a:lvl4pPr>
      <a:lvl5pPr marL="1712228" indent="-230096" algn="l" defTabSz="913997" rtl="0" eaLnBrk="1" latinLnBrk="0" hangingPunct="1">
        <a:lnSpc>
          <a:spcPct val="90000"/>
        </a:lnSpc>
        <a:spcBef>
          <a:spcPct val="20000"/>
        </a:spcBef>
        <a:buSzPct val="90000"/>
        <a:buFont typeface="Arial" pitchFamily="34" charset="0"/>
        <a:buChar char="•"/>
        <a:defRPr sz="1999" kern="1200">
          <a:ln>
            <a:solidFill>
              <a:schemeClr val="tx1">
                <a:alpha val="0"/>
              </a:schemeClr>
            </a:solidFill>
          </a:ln>
          <a:solidFill>
            <a:srgbClr val="FFFFFF"/>
          </a:solidFill>
          <a:latin typeface="+mn-lt"/>
          <a:ea typeface="+mn-ea"/>
          <a:cs typeface="+mn-cs"/>
        </a:defRPr>
      </a:lvl5pPr>
      <a:lvl6pPr marL="2513493" indent="-228500" algn="l" defTabSz="913997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492" indent="-228500" algn="l" defTabSz="913997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491" indent="-228500" algn="l" defTabSz="913997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491" indent="-228500" algn="l" defTabSz="913997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99" algn="l" defTabSz="9139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97" algn="l" defTabSz="9139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96" algn="l" defTabSz="9139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996" algn="l" defTabSz="9139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995" algn="l" defTabSz="9139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993" algn="l" defTabSz="9139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992" algn="l" defTabSz="9139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991" algn="l" defTabSz="9139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jpe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1.jpeg"/><Relationship Id="rId5" Type="http://schemas.openxmlformats.org/officeDocument/2006/relationships/image" Target="../media/image50.jpg"/><Relationship Id="rId10" Type="http://schemas.openxmlformats.org/officeDocument/2006/relationships/image" Target="../media/image55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12" Type="http://schemas.openxmlformats.org/officeDocument/2006/relationships/image" Target="../media/image65.png"/><Relationship Id="rId17" Type="http://schemas.openxmlformats.org/officeDocument/2006/relationships/image" Target="../media/image68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55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58.png"/><Relationship Id="rId15" Type="http://schemas.openxmlformats.org/officeDocument/2006/relationships/image" Target="../media/image54.png"/><Relationship Id="rId10" Type="http://schemas.openxmlformats.org/officeDocument/2006/relationships/image" Target="../media/image63.png"/><Relationship Id="rId4" Type="http://schemas.openxmlformats.org/officeDocument/2006/relationships/image" Target="../media/image57.png"/><Relationship Id="rId9" Type="http://schemas.openxmlformats.org/officeDocument/2006/relationships/image" Target="../media/image62.png"/><Relationship Id="rId14" Type="http://schemas.openxmlformats.org/officeDocument/2006/relationships/image" Target="../media/image6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57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9.png"/><Relationship Id="rId11" Type="http://schemas.openxmlformats.org/officeDocument/2006/relationships/image" Target="../media/image54.png"/><Relationship Id="rId5" Type="http://schemas.openxmlformats.org/officeDocument/2006/relationships/image" Target="../media/image58.png"/><Relationship Id="rId10" Type="http://schemas.openxmlformats.org/officeDocument/2006/relationships/image" Target="../media/image55.png"/><Relationship Id="rId4" Type="http://schemas.openxmlformats.org/officeDocument/2006/relationships/image" Target="../media/image68.png"/><Relationship Id="rId9" Type="http://schemas.openxmlformats.org/officeDocument/2006/relationships/image" Target="../media/image6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1079457" y="2276072"/>
            <a:ext cx="2122869" cy="34844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  <a:prstDash val="lgDash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noFill/>
            </a:endParaRPr>
          </a:p>
        </p:txBody>
      </p:sp>
      <p:sp>
        <p:nvSpPr>
          <p:cNvPr id="134" name="Rectangle 133"/>
          <p:cNvSpPr/>
          <p:nvPr/>
        </p:nvSpPr>
        <p:spPr bwMode="auto">
          <a:xfrm>
            <a:off x="5487104" y="1818869"/>
            <a:ext cx="6229983" cy="3941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  <a:prstDash val="lgDash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noFill/>
            </a:endParaRPr>
          </a:p>
        </p:txBody>
      </p:sp>
      <p:sp>
        <p:nvSpPr>
          <p:cNvPr id="107" name="Rectangle 106"/>
          <p:cNvSpPr/>
          <p:nvPr/>
        </p:nvSpPr>
        <p:spPr bwMode="auto">
          <a:xfrm>
            <a:off x="9795075" y="2637941"/>
            <a:ext cx="1626868" cy="2894304"/>
          </a:xfrm>
          <a:prstGeom prst="rect">
            <a:avLst/>
          </a:prstGeom>
          <a:solidFill>
            <a:srgbClr val="F2F2F2"/>
          </a:solidFill>
          <a:ln w="10795" cap="flat" cmpd="sng" algn="ctr">
            <a:solidFill>
              <a:srgbClr val="00BCF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79088" tIns="179088" rIns="179088" bIns="14327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294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568" kern="0" dirty="0">
                <a:solidFill>
                  <a:prstClr val="white"/>
                </a:solidFill>
              </a:rPr>
              <a:t> </a:t>
            </a:r>
            <a:endParaRPr lang="en-US" sz="1372" kern="0" dirty="0">
              <a:solidFill>
                <a:prstClr val="white"/>
              </a:solidFill>
            </a:endParaRPr>
          </a:p>
        </p:txBody>
      </p:sp>
      <p:sp>
        <p:nvSpPr>
          <p:cNvPr id="108" name="Rectangle 107"/>
          <p:cNvSpPr/>
          <p:nvPr/>
        </p:nvSpPr>
        <p:spPr bwMode="auto">
          <a:xfrm>
            <a:off x="5596396" y="2599125"/>
            <a:ext cx="4062094" cy="2933119"/>
          </a:xfrm>
          <a:prstGeom prst="rect">
            <a:avLst/>
          </a:prstGeom>
          <a:solidFill>
            <a:srgbClr val="F2F2F2"/>
          </a:solidFill>
          <a:ln w="10795" cap="flat" cmpd="sng" algn="ctr">
            <a:solidFill>
              <a:srgbClr val="00BCF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79088" tIns="179088" rIns="179088" bIns="14327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294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568" kern="0" dirty="0">
              <a:solidFill>
                <a:prstClr val="white"/>
              </a:solidFill>
            </a:endParaRPr>
          </a:p>
        </p:txBody>
      </p:sp>
      <p:sp>
        <p:nvSpPr>
          <p:cNvPr id="80" name="Rectangle 79"/>
          <p:cNvSpPr/>
          <p:nvPr/>
        </p:nvSpPr>
        <p:spPr bwMode="auto">
          <a:xfrm>
            <a:off x="9803402" y="1897023"/>
            <a:ext cx="1595070" cy="717937"/>
          </a:xfrm>
          <a:prstGeom prst="rect">
            <a:avLst/>
          </a:prstGeom>
          <a:solidFill>
            <a:srgbClr val="0089C9"/>
          </a:solidFill>
          <a:ln w="10795" cap="flat" cmpd="sng" algn="ctr">
            <a:solidFill>
              <a:srgbClr val="0089C9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79088" tIns="179088" rIns="179088" bIns="14327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294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kern="0" dirty="0">
                <a:solidFill>
                  <a:prstClr val="white"/>
                </a:solidFill>
              </a:rPr>
              <a:t>Presentation </a:t>
            </a:r>
            <a:endParaRPr lang="en-US" sz="1200" kern="0" dirty="0">
              <a:solidFill>
                <a:prstClr val="white"/>
              </a:solidFill>
            </a:endParaRPr>
          </a:p>
        </p:txBody>
      </p:sp>
      <p:sp>
        <p:nvSpPr>
          <p:cNvPr id="81" name="Rectangle 80"/>
          <p:cNvSpPr/>
          <p:nvPr/>
        </p:nvSpPr>
        <p:spPr bwMode="auto">
          <a:xfrm>
            <a:off x="5575648" y="1881187"/>
            <a:ext cx="4082842" cy="717938"/>
          </a:xfrm>
          <a:prstGeom prst="rect">
            <a:avLst/>
          </a:prstGeom>
          <a:solidFill>
            <a:srgbClr val="0089C9"/>
          </a:solidFill>
          <a:ln w="10795" cap="flat" cmpd="sng" algn="ctr">
            <a:solidFill>
              <a:srgbClr val="0089C9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79088" tIns="179088" rIns="179088" bIns="14327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294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kern="0" dirty="0">
                <a:solidFill>
                  <a:prstClr val="white"/>
                </a:solidFill>
              </a:rPr>
              <a:t>Event, Data Processing &amp; Analytics</a:t>
            </a:r>
          </a:p>
        </p:txBody>
      </p:sp>
      <p:sp>
        <p:nvSpPr>
          <p:cNvPr id="71" name="Rectangle 70"/>
          <p:cNvSpPr/>
          <p:nvPr/>
        </p:nvSpPr>
        <p:spPr>
          <a:xfrm>
            <a:off x="7675483" y="3718350"/>
            <a:ext cx="1822811" cy="720272"/>
          </a:xfrm>
          <a:prstGeom prst="rect">
            <a:avLst/>
          </a:prstGeom>
          <a:solidFill>
            <a:srgbClr val="80C3E3"/>
          </a:solidFill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6386"/>
            <a:r>
              <a:rPr lang="en-US" sz="1100" kern="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              SQL Azure </a:t>
            </a:r>
          </a:p>
        </p:txBody>
      </p:sp>
      <p:sp>
        <p:nvSpPr>
          <p:cNvPr id="94" name="Rectangle 93"/>
          <p:cNvSpPr/>
          <p:nvPr/>
        </p:nvSpPr>
        <p:spPr>
          <a:xfrm>
            <a:off x="7656742" y="2773958"/>
            <a:ext cx="1860295" cy="724709"/>
          </a:xfrm>
          <a:prstGeom prst="rect">
            <a:avLst/>
          </a:prstGeom>
          <a:solidFill>
            <a:srgbClr val="80C3E3"/>
          </a:solidFill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6386"/>
            <a:r>
              <a:rPr lang="en-US" sz="1100" kern="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     Blob </a:t>
            </a:r>
          </a:p>
          <a:p>
            <a:pPr algn="ctr" defTabSz="896386"/>
            <a:r>
              <a:rPr lang="en-US" sz="1100" kern="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         Storage  </a:t>
            </a:r>
          </a:p>
        </p:txBody>
      </p:sp>
      <p:cxnSp>
        <p:nvCxnSpPr>
          <p:cNvPr id="45" name="Straight Connector 44"/>
          <p:cNvCxnSpPr/>
          <p:nvPr/>
        </p:nvCxnSpPr>
        <p:spPr>
          <a:xfrm>
            <a:off x="0" y="965187"/>
            <a:ext cx="12187238" cy="0"/>
          </a:xfrm>
          <a:prstGeom prst="line">
            <a:avLst/>
          </a:prstGeom>
          <a:ln w="12700">
            <a:solidFill>
              <a:srgbClr val="0072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itle 2"/>
          <p:cNvSpPr txBox="1">
            <a:spLocks/>
          </p:cNvSpPr>
          <p:nvPr/>
        </p:nvSpPr>
        <p:spPr>
          <a:xfrm>
            <a:off x="266817" y="157722"/>
            <a:ext cx="11651288" cy="899873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1408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292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234">
              <a:lnSpc>
                <a:spcPct val="100000"/>
              </a:lnSpc>
              <a:spcBef>
                <a:spcPts val="1200"/>
              </a:spcBef>
              <a:defRPr/>
            </a:pPr>
            <a:r>
              <a:rPr lang="en-US" sz="3600" dirty="0">
                <a:solidFill>
                  <a:schemeClr val="bg2">
                    <a:lumMod val="25000"/>
                  </a:schemeClr>
                </a:solidFill>
              </a:rPr>
              <a:t> Reference Architecture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EFCFD"/>
              </a:clrFrom>
              <a:clrTo>
                <a:srgbClr val="FEFCFD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971" y="3769360"/>
            <a:ext cx="468811" cy="477547"/>
          </a:xfrm>
          <a:prstGeom prst="rect">
            <a:avLst/>
          </a:prstGeom>
        </p:spPr>
      </p:pic>
      <p:sp>
        <p:nvSpPr>
          <p:cNvPr id="147" name="Rectangle 146"/>
          <p:cNvSpPr/>
          <p:nvPr/>
        </p:nvSpPr>
        <p:spPr bwMode="auto">
          <a:xfrm>
            <a:off x="1079459" y="1764189"/>
            <a:ext cx="2122867" cy="503567"/>
          </a:xfrm>
          <a:prstGeom prst="rect">
            <a:avLst/>
          </a:prstGeom>
          <a:solidFill>
            <a:srgbClr val="0089C9"/>
          </a:solidFill>
          <a:ln w="10795" cap="flat" cmpd="sng" algn="ctr">
            <a:solidFill>
              <a:srgbClr val="0089C9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79088" tIns="179088" rIns="179088" bIns="14327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294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68" kern="0" dirty="0">
                <a:solidFill>
                  <a:srgbClr val="FFFFFF"/>
                </a:solidFill>
              </a:rPr>
              <a:t>On Premise</a:t>
            </a:r>
          </a:p>
        </p:txBody>
      </p:sp>
      <p:sp>
        <p:nvSpPr>
          <p:cNvPr id="148" name="Rectangle 147"/>
          <p:cNvSpPr/>
          <p:nvPr/>
        </p:nvSpPr>
        <p:spPr bwMode="auto">
          <a:xfrm>
            <a:off x="5487104" y="1310279"/>
            <a:ext cx="6229983" cy="503567"/>
          </a:xfrm>
          <a:prstGeom prst="rect">
            <a:avLst/>
          </a:prstGeom>
          <a:solidFill>
            <a:srgbClr val="0089C9"/>
          </a:solidFill>
          <a:ln w="10795" cap="flat" cmpd="sng" algn="ctr">
            <a:solidFill>
              <a:srgbClr val="0089C9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79088" tIns="179088" rIns="179088" bIns="14327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294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68" kern="0" dirty="0">
                <a:solidFill>
                  <a:srgbClr val="FFFFFF"/>
                </a:solidFill>
              </a:rPr>
              <a:t>Cloud (Microsoft Azure)</a:t>
            </a:r>
          </a:p>
        </p:txBody>
      </p:sp>
      <p:pic>
        <p:nvPicPr>
          <p:cNvPr id="149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313329" y="1227102"/>
            <a:ext cx="283839" cy="263098"/>
          </a:xfrm>
          <a:prstGeom prst="rect">
            <a:avLst/>
          </a:prstGeom>
          <a:solidFill>
            <a:schemeClr val="tx1">
              <a:lumMod val="50000"/>
            </a:schemeClr>
          </a:solidFill>
          <a:ln w="3175">
            <a:solidFill>
              <a:schemeClr val="tx1">
                <a:lumMod val="20000"/>
                <a:lumOff val="80000"/>
              </a:schemeClr>
            </a:solidFill>
          </a:ln>
          <a:extLst/>
        </p:spPr>
      </p:pic>
      <p:sp>
        <p:nvSpPr>
          <p:cNvPr id="153" name="Rectangle 152"/>
          <p:cNvSpPr/>
          <p:nvPr/>
        </p:nvSpPr>
        <p:spPr>
          <a:xfrm>
            <a:off x="9937370" y="3438422"/>
            <a:ext cx="1368447" cy="1374617"/>
          </a:xfrm>
          <a:prstGeom prst="rect">
            <a:avLst/>
          </a:prstGeom>
          <a:solidFill>
            <a:srgbClr val="80C3E3"/>
          </a:solidFill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6386"/>
            <a:endParaRPr lang="en-US" sz="1100" kern="0" dirty="0">
              <a:solidFill>
                <a:schemeClr val="bg2">
                  <a:lumMod val="10000"/>
                </a:schemeClr>
              </a:solidFill>
              <a:cs typeface="Arial" panose="020B0604020202020204" pitchFamily="34" charset="0"/>
            </a:endParaRPr>
          </a:p>
          <a:p>
            <a:pPr algn="ctr" defTabSz="896386"/>
            <a:endParaRPr lang="en-US" sz="1100" kern="0" dirty="0">
              <a:solidFill>
                <a:schemeClr val="bg2">
                  <a:lumMod val="10000"/>
                </a:schemeClr>
              </a:solidFill>
              <a:cs typeface="Arial" panose="020B0604020202020204" pitchFamily="34" charset="0"/>
            </a:endParaRPr>
          </a:p>
          <a:p>
            <a:pPr algn="ctr" defTabSz="896386"/>
            <a:endParaRPr lang="en-US" sz="1100" kern="0" dirty="0">
              <a:solidFill>
                <a:schemeClr val="bg2">
                  <a:lumMod val="10000"/>
                </a:schemeClr>
              </a:solidFill>
              <a:cs typeface="Arial" panose="020B0604020202020204" pitchFamily="34" charset="0"/>
            </a:endParaRPr>
          </a:p>
          <a:p>
            <a:pPr algn="ctr" defTabSz="896386"/>
            <a:r>
              <a:rPr lang="en-US" sz="1100" kern="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Web App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377474" y="192123"/>
            <a:ext cx="4749617" cy="7386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igital Signage Solution</a:t>
            </a: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5734148" y="4550523"/>
            <a:ext cx="1498110" cy="769621"/>
          </a:xfrm>
          <a:prstGeom prst="rect">
            <a:avLst/>
          </a:prstGeom>
          <a:solidFill>
            <a:srgbClr val="80C3E3"/>
          </a:solidFill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6386"/>
            <a:r>
              <a:rPr lang="en-US" sz="1100" kern="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  </a:t>
            </a:r>
          </a:p>
          <a:p>
            <a:pPr algn="ctr" defTabSz="896386"/>
            <a:r>
              <a:rPr lang="en-US" sz="1200" kern="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          API App </a:t>
            </a:r>
          </a:p>
          <a:p>
            <a:pPr algn="ctr" defTabSz="896386"/>
            <a:r>
              <a:rPr lang="en-US" sz="1200" kern="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            ( Node </a:t>
            </a:r>
            <a:r>
              <a:rPr lang="en-US" sz="1200" kern="0" dirty="0" err="1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Js</a:t>
            </a:r>
            <a:r>
              <a:rPr lang="en-US" sz="1100" kern="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)</a:t>
            </a:r>
          </a:p>
        </p:txBody>
      </p:sp>
      <p:sp>
        <p:nvSpPr>
          <p:cNvPr id="65" name="Rectangle 64"/>
          <p:cNvSpPr/>
          <p:nvPr/>
        </p:nvSpPr>
        <p:spPr>
          <a:xfrm>
            <a:off x="7675497" y="4550523"/>
            <a:ext cx="1829218" cy="769621"/>
          </a:xfrm>
          <a:prstGeom prst="rect">
            <a:avLst/>
          </a:prstGeom>
          <a:solidFill>
            <a:srgbClr val="80C3E3"/>
          </a:solidFill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  Web Job</a:t>
            </a:r>
          </a:p>
          <a:p>
            <a:pPr marL="0" marR="0" lvl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cs typeface="Arial" panose="020B0604020202020204" pitchFamily="34" charset="0"/>
              </a:rPr>
              <a:t> Services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904870" y="6280949"/>
            <a:ext cx="1163586" cy="265193"/>
          </a:xfrm>
          <a:prstGeom prst="rect">
            <a:avLst/>
          </a:prstGeom>
          <a:solidFill>
            <a:srgbClr val="80C3E3"/>
          </a:solidFill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 defTabSz="896386">
              <a:defRPr sz="1197" kern="0">
                <a:solidFill>
                  <a:sysClr val="windowText" lastClr="000000"/>
                </a:solidFill>
                <a:cs typeface="Arial" panose="020B0604020202020204" pitchFamily="34" charset="0"/>
              </a:defRPr>
            </a:lvl1pPr>
          </a:lstStyle>
          <a:p>
            <a:r>
              <a:rPr lang="en-US" sz="1050" dirty="0">
                <a:solidFill>
                  <a:schemeClr val="bg2">
                    <a:lumMod val="10000"/>
                  </a:schemeClr>
                </a:solidFill>
              </a:rPr>
              <a:t>HW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1300977" y="3082954"/>
            <a:ext cx="1584912" cy="2449290"/>
          </a:xfrm>
          <a:prstGeom prst="rect">
            <a:avLst/>
          </a:prstGeom>
          <a:solidFill>
            <a:srgbClr val="F2F2F2"/>
          </a:solidFill>
          <a:ln w="10795" cap="flat" cmpd="sng" algn="ctr">
            <a:solidFill>
              <a:srgbClr val="00BCF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79088" tIns="179088" rIns="179088" bIns="14327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294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68" kern="0" dirty="0">
              <a:solidFill>
                <a:srgbClr val="FFFFFF"/>
              </a:solidFill>
            </a:endParaRPr>
          </a:p>
        </p:txBody>
      </p:sp>
      <p:sp>
        <p:nvSpPr>
          <p:cNvPr id="100" name="Rectangle 99"/>
          <p:cNvSpPr/>
          <p:nvPr/>
        </p:nvSpPr>
        <p:spPr bwMode="auto">
          <a:xfrm>
            <a:off x="1300977" y="2545401"/>
            <a:ext cx="1584912" cy="502877"/>
          </a:xfrm>
          <a:prstGeom prst="rect">
            <a:avLst/>
          </a:prstGeom>
          <a:solidFill>
            <a:srgbClr val="0089C9"/>
          </a:solidFill>
          <a:ln w="10795" cap="flat" cmpd="sng" algn="ctr">
            <a:solidFill>
              <a:srgbClr val="0089C9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79088" tIns="179088" rIns="179088" bIns="14327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294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kern="0" dirty="0">
                <a:solidFill>
                  <a:srgbClr val="FFFFFF"/>
                </a:solidFill>
              </a:rPr>
              <a:t>Devices and</a:t>
            </a:r>
          </a:p>
          <a:p>
            <a:pPr algn="ctr" defTabSz="91294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kern="0" dirty="0">
                <a:solidFill>
                  <a:srgbClr val="FFFFFF"/>
                </a:solidFill>
              </a:rPr>
              <a:t>Data Sources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1524781" y="3267919"/>
            <a:ext cx="1163586" cy="369566"/>
          </a:xfrm>
          <a:prstGeom prst="rect">
            <a:avLst/>
          </a:prstGeom>
          <a:solidFill>
            <a:srgbClr val="80C3E3"/>
          </a:solidFill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 defTabSz="896386">
              <a:defRPr sz="1197" kern="0">
                <a:solidFill>
                  <a:sysClr val="windowText" lastClr="000000"/>
                </a:solidFill>
                <a:cs typeface="Arial" panose="020B0604020202020204" pitchFamily="34" charset="0"/>
              </a:defRPr>
            </a:lvl1pPr>
          </a:lstStyle>
          <a:p>
            <a:r>
              <a:rPr lang="en-US" sz="1050" dirty="0">
                <a:solidFill>
                  <a:schemeClr val="bg2">
                    <a:lumMod val="10000"/>
                  </a:schemeClr>
                </a:solidFill>
              </a:rPr>
              <a:t>“Stick”</a:t>
            </a:r>
          </a:p>
        </p:txBody>
      </p:sp>
      <p:cxnSp>
        <p:nvCxnSpPr>
          <p:cNvPr id="103" name="Straight Arrow Connector 102"/>
          <p:cNvCxnSpPr/>
          <p:nvPr/>
        </p:nvCxnSpPr>
        <p:spPr>
          <a:xfrm flipV="1">
            <a:off x="3270321" y="4008594"/>
            <a:ext cx="2216783" cy="1"/>
          </a:xfrm>
          <a:prstGeom prst="straightConnector1">
            <a:avLst/>
          </a:prstGeom>
          <a:ln w="47625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extBox 103"/>
          <p:cNvSpPr txBox="1"/>
          <p:nvPr/>
        </p:nvSpPr>
        <p:spPr>
          <a:xfrm>
            <a:off x="3913200" y="3473668"/>
            <a:ext cx="1400129" cy="4893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ifi</a:t>
            </a:r>
            <a:endParaRPr lang="en-US" sz="1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548758" y="4073202"/>
            <a:ext cx="1163586" cy="369566"/>
          </a:xfrm>
          <a:prstGeom prst="rect">
            <a:avLst/>
          </a:prstGeom>
          <a:solidFill>
            <a:srgbClr val="80C3E3"/>
          </a:solidFill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 defTabSz="896386">
              <a:defRPr sz="1197" kern="0">
                <a:solidFill>
                  <a:sysClr val="windowText" lastClr="000000"/>
                </a:solidFill>
                <a:cs typeface="Arial" panose="020B0604020202020204" pitchFamily="34" charset="0"/>
              </a:defRPr>
            </a:lvl1pPr>
          </a:lstStyle>
          <a:p>
            <a:r>
              <a:rPr lang="en-US" sz="1050" dirty="0">
                <a:solidFill>
                  <a:schemeClr val="bg2">
                    <a:lumMod val="10000"/>
                  </a:schemeClr>
                </a:solidFill>
              </a:rPr>
              <a:t>“Stick”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695" y="2854148"/>
            <a:ext cx="517818" cy="553854"/>
          </a:xfrm>
          <a:prstGeom prst="rect">
            <a:avLst/>
          </a:prstGeom>
        </p:spPr>
      </p:pic>
      <p:sp>
        <p:nvSpPr>
          <p:cNvPr id="70" name="Rectangle 69"/>
          <p:cNvSpPr/>
          <p:nvPr/>
        </p:nvSpPr>
        <p:spPr>
          <a:xfrm>
            <a:off x="5745063" y="3700550"/>
            <a:ext cx="1487195" cy="709123"/>
          </a:xfrm>
          <a:prstGeom prst="rect">
            <a:avLst/>
          </a:prstGeom>
          <a:solidFill>
            <a:srgbClr val="80C3E3"/>
          </a:solidFill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6386"/>
            <a:r>
              <a:rPr lang="en-US" sz="1100" kern="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     IOT </a:t>
            </a:r>
          </a:p>
          <a:p>
            <a:pPr algn="ctr" defTabSz="896386"/>
            <a:r>
              <a:rPr lang="en-US" sz="1100" kern="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       HUB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3798" y="3769360"/>
            <a:ext cx="510645" cy="56652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2745" y="4682255"/>
            <a:ext cx="513264" cy="43813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1811" y="3466226"/>
            <a:ext cx="1218253" cy="712574"/>
          </a:xfrm>
          <a:prstGeom prst="rect">
            <a:avLst/>
          </a:prstGeom>
        </p:spPr>
      </p:pic>
      <p:sp>
        <p:nvSpPr>
          <p:cNvPr id="77" name="TextBox 76"/>
          <p:cNvSpPr txBox="1"/>
          <p:nvPr/>
        </p:nvSpPr>
        <p:spPr>
          <a:xfrm>
            <a:off x="1419208" y="3214696"/>
            <a:ext cx="211146" cy="193305"/>
          </a:xfrm>
          <a:prstGeom prst="rect">
            <a:avLst/>
          </a:prstGeom>
          <a:solidFill>
            <a:srgbClr val="000000"/>
          </a:solidFill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 defTabSz="896386">
              <a:defRPr sz="1197" kern="0">
                <a:solidFill>
                  <a:sysClr val="windowText" lastClr="000000"/>
                </a:solidFill>
                <a:cs typeface="Arial" panose="020B0604020202020204" pitchFamily="34" charset="0"/>
              </a:defRPr>
            </a:lvl1pPr>
          </a:lstStyle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1459110" y="4009259"/>
            <a:ext cx="211146" cy="193305"/>
          </a:xfrm>
          <a:prstGeom prst="rect">
            <a:avLst/>
          </a:prstGeom>
          <a:solidFill>
            <a:srgbClr val="000000"/>
          </a:solidFill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 defTabSz="896386">
              <a:defRPr sz="1197" kern="0">
                <a:solidFill>
                  <a:sysClr val="windowText" lastClr="000000"/>
                </a:solidFill>
                <a:cs typeface="Arial" panose="020B0604020202020204" pitchFamily="34" charset="0"/>
              </a:defRPr>
            </a:lvl1pPr>
          </a:lstStyle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757612" y="6195896"/>
            <a:ext cx="211146" cy="193305"/>
          </a:xfrm>
          <a:prstGeom prst="rect">
            <a:avLst/>
          </a:prstGeom>
          <a:solidFill>
            <a:srgbClr val="000000"/>
          </a:solidFill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 defTabSz="896386">
              <a:defRPr sz="1197" kern="0">
                <a:solidFill>
                  <a:sysClr val="windowText" lastClr="000000"/>
                </a:solidFill>
                <a:cs typeface="Arial" panose="020B0604020202020204" pitchFamily="34" charset="0"/>
              </a:defRPr>
            </a:lvl1pPr>
          </a:lstStyle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2265681" y="6292548"/>
            <a:ext cx="1163586" cy="265193"/>
          </a:xfrm>
          <a:prstGeom prst="rect">
            <a:avLst/>
          </a:prstGeom>
          <a:solidFill>
            <a:srgbClr val="80C3E3"/>
          </a:solidFill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 defTabSz="896386">
              <a:defRPr sz="1197" kern="0">
                <a:solidFill>
                  <a:sysClr val="windowText" lastClr="000000"/>
                </a:solidFill>
                <a:cs typeface="Arial" panose="020B0604020202020204" pitchFamily="34" charset="0"/>
              </a:defRPr>
            </a:lvl1pPr>
          </a:lstStyle>
          <a:p>
            <a:r>
              <a:rPr lang="en-US" sz="1050" dirty="0">
                <a:solidFill>
                  <a:schemeClr val="bg2">
                    <a:lumMod val="10000"/>
                  </a:schemeClr>
                </a:solidFill>
              </a:rPr>
              <a:t>Azure Services</a:t>
            </a:r>
          </a:p>
        </p:txBody>
      </p:sp>
      <p:pic>
        <p:nvPicPr>
          <p:cNvPr id="84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139273" y="6137204"/>
            <a:ext cx="238167" cy="220763"/>
          </a:xfrm>
          <a:prstGeom prst="rect">
            <a:avLst/>
          </a:prstGeom>
          <a:solidFill>
            <a:schemeClr val="tx1">
              <a:lumMod val="50000"/>
            </a:schemeClr>
          </a:solidFill>
          <a:ln w="3175">
            <a:solidFill>
              <a:schemeClr val="tx1">
                <a:lumMod val="20000"/>
                <a:lumOff val="80000"/>
              </a:schemeClr>
            </a:solidFill>
          </a:ln>
          <a:extLst/>
        </p:spPr>
      </p:pic>
      <p:sp>
        <p:nvSpPr>
          <p:cNvPr id="47" name="TextBox 46"/>
          <p:cNvSpPr txBox="1"/>
          <p:nvPr/>
        </p:nvSpPr>
        <p:spPr>
          <a:xfrm>
            <a:off x="1548758" y="4849073"/>
            <a:ext cx="1163586" cy="369566"/>
          </a:xfrm>
          <a:prstGeom prst="rect">
            <a:avLst/>
          </a:prstGeom>
          <a:solidFill>
            <a:srgbClr val="80C3E3"/>
          </a:solidFill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 defTabSz="896386">
              <a:defRPr sz="1197" kern="0">
                <a:solidFill>
                  <a:sysClr val="windowText" lastClr="000000"/>
                </a:solidFill>
                <a:cs typeface="Arial" panose="020B0604020202020204" pitchFamily="34" charset="0"/>
              </a:defRPr>
            </a:lvl1pPr>
          </a:lstStyle>
          <a:p>
            <a:r>
              <a:rPr lang="en-US" sz="1050" dirty="0">
                <a:solidFill>
                  <a:schemeClr val="bg2">
                    <a:lumMod val="10000"/>
                  </a:schemeClr>
                </a:solidFill>
              </a:rPr>
              <a:t>“Stick”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1459110" y="4785130"/>
            <a:ext cx="211146" cy="193305"/>
          </a:xfrm>
          <a:prstGeom prst="rect">
            <a:avLst/>
          </a:prstGeom>
          <a:solidFill>
            <a:srgbClr val="000000"/>
          </a:solidFill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 defTabSz="896386">
              <a:defRPr sz="1197" kern="0">
                <a:solidFill>
                  <a:sysClr val="windowText" lastClr="000000"/>
                </a:solidFill>
                <a:cs typeface="Arial" panose="020B0604020202020204" pitchFamily="34" charset="0"/>
              </a:defRPr>
            </a:lvl1pPr>
          </a:lstStyle>
          <a:p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5495" y="4680366"/>
            <a:ext cx="488948" cy="536696"/>
          </a:xfrm>
          <a:prstGeom prst="rect">
            <a:avLst/>
          </a:prstGeom>
        </p:spPr>
      </p:pic>
      <p:sp>
        <p:nvSpPr>
          <p:cNvPr id="49" name="Rectangle 48"/>
          <p:cNvSpPr/>
          <p:nvPr/>
        </p:nvSpPr>
        <p:spPr>
          <a:xfrm>
            <a:off x="5770757" y="2801008"/>
            <a:ext cx="1423104" cy="697659"/>
          </a:xfrm>
          <a:prstGeom prst="rect">
            <a:avLst/>
          </a:prstGeom>
          <a:solidFill>
            <a:srgbClr val="80C3E3"/>
          </a:solidFill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6386"/>
            <a:r>
              <a:rPr lang="en-US" sz="1100" kern="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        Azure</a:t>
            </a:r>
          </a:p>
          <a:p>
            <a:pPr algn="ctr" defTabSz="896386"/>
            <a:r>
              <a:rPr lang="en-US" sz="1100" kern="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     DPS</a:t>
            </a:r>
          </a:p>
        </p:txBody>
      </p:sp>
      <p:pic>
        <p:nvPicPr>
          <p:cNvPr id="50" name="Picture 2" descr="Image result for azure DPS service icon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5494" y="2875645"/>
            <a:ext cx="651881" cy="55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769489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/>
          <p:cNvSpPr/>
          <p:nvPr/>
        </p:nvSpPr>
        <p:spPr bwMode="auto">
          <a:xfrm>
            <a:off x="4998446" y="3278788"/>
            <a:ext cx="3153351" cy="1142554"/>
          </a:xfrm>
          <a:prstGeom prst="rect">
            <a:avLst/>
          </a:prstGeom>
          <a:solidFill>
            <a:sysClr val="window" lastClr="FFFFFF">
              <a:alpha val="90000"/>
            </a:sysClr>
          </a:solidFill>
          <a:ln w="19050" cap="flat" cmpd="sng" algn="ctr">
            <a:solidFill>
              <a:srgbClr val="8AB83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89608" rIns="0" bIns="8958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591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10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Storage</a:t>
            </a:r>
          </a:p>
        </p:txBody>
      </p:sp>
      <p:cxnSp>
        <p:nvCxnSpPr>
          <p:cNvPr id="72" name="2   Arrow fg"/>
          <p:cNvCxnSpPr/>
          <p:nvPr/>
        </p:nvCxnSpPr>
        <p:spPr>
          <a:xfrm flipH="1" flipV="1">
            <a:off x="4633537" y="2112991"/>
            <a:ext cx="370298" cy="2400"/>
          </a:xfrm>
          <a:prstGeom prst="straightConnector1">
            <a:avLst/>
          </a:prstGeom>
          <a:noFill/>
          <a:ln w="31750" cap="flat" cmpd="sng" algn="ctr">
            <a:solidFill>
              <a:schemeClr val="accent1"/>
            </a:solidFill>
            <a:prstDash val="solid"/>
            <a:headEnd type="stealth" w="lg" len="med"/>
            <a:tailEnd type="none" w="med" len="med"/>
          </a:ln>
          <a:effectLst/>
        </p:spPr>
      </p:cxnSp>
      <p:sp>
        <p:nvSpPr>
          <p:cNvPr id="175" name="Rectangle 174"/>
          <p:cNvSpPr/>
          <p:nvPr/>
        </p:nvSpPr>
        <p:spPr bwMode="auto">
          <a:xfrm>
            <a:off x="8616287" y="1463109"/>
            <a:ext cx="969367" cy="3028985"/>
          </a:xfrm>
          <a:prstGeom prst="rect">
            <a:avLst/>
          </a:prstGeom>
          <a:solidFill>
            <a:sysClr val="window" lastClr="FFFFFF">
              <a:alpha val="90000"/>
            </a:sysClr>
          </a:solidFill>
          <a:ln w="19050" cap="flat" cmpd="sng" algn="ctr">
            <a:solidFill>
              <a:srgbClr val="8AB83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89608" rIns="0" bIns="8958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591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10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Presentation </a:t>
            </a:r>
          </a:p>
        </p:txBody>
      </p:sp>
      <p:cxnSp>
        <p:nvCxnSpPr>
          <p:cNvPr id="108" name="2   Arrow fg"/>
          <p:cNvCxnSpPr/>
          <p:nvPr/>
        </p:nvCxnSpPr>
        <p:spPr>
          <a:xfrm flipH="1">
            <a:off x="6574128" y="2684086"/>
            <a:ext cx="903" cy="543494"/>
          </a:xfrm>
          <a:prstGeom prst="straightConnector1">
            <a:avLst/>
          </a:prstGeom>
          <a:noFill/>
          <a:ln w="31750" cap="flat" cmpd="sng" algn="ctr">
            <a:solidFill>
              <a:schemeClr val="accent1"/>
            </a:solidFill>
            <a:prstDash val="solid"/>
            <a:headEnd type="stealth" w="lg" len="med"/>
            <a:tailEnd type="stealth" w="lg" len="med"/>
          </a:ln>
          <a:effectLst/>
        </p:spPr>
      </p:cxnSp>
      <p:sp>
        <p:nvSpPr>
          <p:cNvPr id="148" name="Rectangle 147"/>
          <p:cNvSpPr/>
          <p:nvPr/>
        </p:nvSpPr>
        <p:spPr bwMode="auto">
          <a:xfrm>
            <a:off x="10471395" y="667905"/>
            <a:ext cx="1435218" cy="5075415"/>
          </a:xfrm>
          <a:prstGeom prst="rect">
            <a:avLst/>
          </a:prstGeom>
          <a:solidFill>
            <a:sysClr val="window" lastClr="FFFFFF">
              <a:alpha val="90000"/>
            </a:sysClr>
          </a:solidFill>
          <a:ln w="19050" cap="flat" cmpd="sng" algn="ctr">
            <a:solidFill>
              <a:srgbClr val="8AB833"/>
            </a:solidFill>
            <a:prstDash val="dash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89608" rIns="0" bIns="8958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591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10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Optional / Roadmap components</a:t>
            </a:r>
          </a:p>
        </p:txBody>
      </p:sp>
      <p:pic>
        <p:nvPicPr>
          <p:cNvPr id="162" name="Picture 16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3872" y="4038367"/>
            <a:ext cx="930264" cy="337349"/>
          </a:xfrm>
          <a:prstGeom prst="rect">
            <a:avLst/>
          </a:prstGeom>
        </p:spPr>
      </p:pic>
      <p:sp>
        <p:nvSpPr>
          <p:cNvPr id="165" name="TextBox 164"/>
          <p:cNvSpPr txBox="1"/>
          <p:nvPr/>
        </p:nvSpPr>
        <p:spPr>
          <a:xfrm>
            <a:off x="10728858" y="4557507"/>
            <a:ext cx="920291" cy="4153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2591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1000" kern="0" dirty="0">
                <a:solidFill>
                  <a:srgbClr val="0079D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rtana Intelligence Suite</a:t>
            </a:r>
            <a:endParaRPr lang="en-GB" sz="1000" kern="0" dirty="0">
              <a:solidFill>
                <a:srgbClr val="0079D6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8" name="Title 1"/>
          <p:cNvSpPr txBox="1">
            <a:spLocks/>
          </p:cNvSpPr>
          <p:nvPr/>
        </p:nvSpPr>
        <p:spPr>
          <a:xfrm>
            <a:off x="224279" y="134487"/>
            <a:ext cx="10125498" cy="749428"/>
          </a:xfrm>
          <a:prstGeom prst="rect">
            <a:avLst/>
          </a:prstGeom>
        </p:spPr>
        <p:txBody>
          <a:bodyPr/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28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399" dirty="0"/>
              <a:t>Digital Signage Solution Architecture  – Component view</a:t>
            </a:r>
          </a:p>
        </p:txBody>
      </p:sp>
      <p:sp>
        <p:nvSpPr>
          <p:cNvPr id="80" name="Rectangle 79"/>
          <p:cNvSpPr/>
          <p:nvPr/>
        </p:nvSpPr>
        <p:spPr bwMode="auto">
          <a:xfrm>
            <a:off x="4997319" y="1486103"/>
            <a:ext cx="3155421" cy="1142554"/>
          </a:xfrm>
          <a:prstGeom prst="rect">
            <a:avLst/>
          </a:prstGeom>
          <a:solidFill>
            <a:sysClr val="window" lastClr="FFFFFF">
              <a:alpha val="90000"/>
            </a:sysClr>
          </a:solidFill>
          <a:ln w="19050" cap="flat" cmpd="sng" algn="ctr">
            <a:solidFill>
              <a:srgbClr val="8AB83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89608" rIns="0" bIns="8958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591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10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pp Backend</a:t>
            </a:r>
          </a:p>
        </p:txBody>
      </p:sp>
      <p:sp>
        <p:nvSpPr>
          <p:cNvPr id="217" name="2 Device"/>
          <p:cNvSpPr txBox="1"/>
          <p:nvPr/>
        </p:nvSpPr>
        <p:spPr>
          <a:xfrm>
            <a:off x="2181614" y="5790369"/>
            <a:ext cx="2444505" cy="65849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lIns="0" tIns="89608" rIns="0" bIns="89608" rtlCol="0" anchor="ctr">
            <a:noAutofit/>
          </a:bodyPr>
          <a:lstStyle>
            <a:defPPr>
              <a:defRPr lang="en-US"/>
            </a:defPPr>
            <a:lvl1pPr defTabSz="932597">
              <a:defRPr sz="1600">
                <a:solidFill>
                  <a:schemeClr val="bg2"/>
                </a:solidFill>
              </a:defRPr>
            </a:lvl1pPr>
          </a:lstStyle>
          <a:p>
            <a:pPr algn="ctr" defTabSz="776822">
              <a:defRPr/>
            </a:pPr>
            <a:r>
              <a:rPr lang="en-US" sz="1167" dirty="0">
                <a:latin typeface="Segoe UI" panose="020B0502040204020203" pitchFamily="34" charset="0"/>
                <a:cs typeface="Segoe UI" panose="020B0502040204020203" pitchFamily="34" charset="0"/>
              </a:rPr>
              <a:t>Device Connectivity</a:t>
            </a:r>
          </a:p>
        </p:txBody>
      </p:sp>
      <p:sp>
        <p:nvSpPr>
          <p:cNvPr id="218" name="3"/>
          <p:cNvSpPr txBox="1"/>
          <p:nvPr/>
        </p:nvSpPr>
        <p:spPr>
          <a:xfrm>
            <a:off x="4996417" y="5790369"/>
            <a:ext cx="3155381" cy="65849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lIns="0" tIns="89608" rIns="0" bIns="89608" rtlCol="0" anchor="ctr">
            <a:noAutofit/>
          </a:bodyPr>
          <a:lstStyle>
            <a:defPPr>
              <a:defRPr lang="en-US"/>
            </a:defPPr>
            <a:lvl1pPr marR="0" lvl="0" indent="0" algn="ctr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167" dirty="0"/>
              <a:t>Data Processing, Analytics &amp; Management</a:t>
            </a:r>
          </a:p>
        </p:txBody>
      </p:sp>
      <p:grpSp>
        <p:nvGrpSpPr>
          <p:cNvPr id="222" name="Group 221"/>
          <p:cNvGrpSpPr/>
          <p:nvPr/>
        </p:nvGrpSpPr>
        <p:grpSpPr>
          <a:xfrm>
            <a:off x="3782077" y="1560568"/>
            <a:ext cx="815764" cy="3237330"/>
            <a:chOff x="4574212" y="2277901"/>
            <a:chExt cx="979299" cy="3389871"/>
          </a:xfrm>
        </p:grpSpPr>
        <p:sp>
          <p:nvSpPr>
            <p:cNvPr id="47" name="Rectangle 46"/>
            <p:cNvSpPr/>
            <p:nvPr/>
          </p:nvSpPr>
          <p:spPr bwMode="auto">
            <a:xfrm>
              <a:off x="4574212" y="2277901"/>
              <a:ext cx="979299" cy="3389871"/>
            </a:xfrm>
            <a:prstGeom prst="rect">
              <a:avLst/>
            </a:prstGeom>
            <a:solidFill>
              <a:sysClr val="window" lastClr="FFFFFF">
                <a:alpha val="90000"/>
              </a:sysClr>
            </a:solidFill>
            <a:ln w="19050" cap="flat" cmpd="sng" algn="ctr">
              <a:solidFill>
                <a:srgbClr val="8AB833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89608" rIns="0" bIns="8958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591">
                <a:lnSpc>
                  <a:spcPct val="90000"/>
                </a:lnSpc>
                <a:spcBef>
                  <a:spcPct val="20000"/>
                </a:spcBef>
                <a:buSzPct val="80000"/>
              </a:pPr>
              <a:endParaRPr lang="en-GB" sz="10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4686269" y="4711082"/>
              <a:ext cx="755187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000" dirty="0">
                  <a:gradFill>
                    <a:gsLst>
                      <a:gs pos="0">
                        <a:srgbClr val="292929">
                          <a:lumMod val="90000"/>
                          <a:lumOff val="10000"/>
                        </a:srgbClr>
                      </a:gs>
                      <a:gs pos="86000">
                        <a:srgbClr val="292929">
                          <a:lumMod val="90000"/>
                          <a:lumOff val="10000"/>
                        </a:srgbClr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IoT Hub</a:t>
              </a:r>
              <a:endParaRPr lang="en-GB" sz="100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20" name="Picture 21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816332" y="4101065"/>
              <a:ext cx="495056" cy="496360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8551318" y="2702288"/>
            <a:ext cx="1034336" cy="696006"/>
            <a:chOff x="10537712" y="2988792"/>
            <a:chExt cx="877765" cy="605249"/>
          </a:xfrm>
        </p:grpSpPr>
        <p:sp>
          <p:nvSpPr>
            <p:cNvPr id="89" name="TextBox 88"/>
            <p:cNvSpPr txBox="1"/>
            <p:nvPr/>
          </p:nvSpPr>
          <p:spPr>
            <a:xfrm>
              <a:off x="10537712" y="3427842"/>
              <a:ext cx="877765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2591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000" kern="0" dirty="0">
                  <a:gradFill>
                    <a:gsLst>
                      <a:gs pos="0">
                        <a:srgbClr val="292929">
                          <a:lumMod val="90000"/>
                          <a:lumOff val="10000"/>
                        </a:srgbClr>
                      </a:gs>
                      <a:gs pos="86000">
                        <a:srgbClr val="292929">
                          <a:lumMod val="90000"/>
                          <a:lumOff val="10000"/>
                        </a:srgbClr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Web App</a:t>
              </a:r>
              <a:endParaRPr lang="en-GB" sz="1000" kern="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26" name="Picture 12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801938" y="2988792"/>
              <a:ext cx="348370" cy="347472"/>
            </a:xfrm>
            <a:prstGeom prst="rect">
              <a:avLst/>
            </a:prstGeom>
          </p:spPr>
        </p:pic>
      </p:grpSp>
      <p:grpSp>
        <p:nvGrpSpPr>
          <p:cNvPr id="25" name="Group 24"/>
          <p:cNvGrpSpPr/>
          <p:nvPr/>
        </p:nvGrpSpPr>
        <p:grpSpPr>
          <a:xfrm>
            <a:off x="6595611" y="1788795"/>
            <a:ext cx="852868" cy="648391"/>
            <a:chOff x="8969848" y="1782954"/>
            <a:chExt cx="757845" cy="531259"/>
          </a:xfrm>
        </p:grpSpPr>
        <p:sp>
          <p:nvSpPr>
            <p:cNvPr id="134" name="TextBox 133"/>
            <p:cNvSpPr txBox="1"/>
            <p:nvPr/>
          </p:nvSpPr>
          <p:spPr>
            <a:xfrm>
              <a:off x="8969848" y="2200778"/>
              <a:ext cx="757845" cy="1134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2591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000" kern="0" dirty="0">
                  <a:gradFill>
                    <a:gsLst>
                      <a:gs pos="0">
                        <a:srgbClr val="292929">
                          <a:lumMod val="90000"/>
                          <a:lumOff val="10000"/>
                        </a:srgbClr>
                      </a:gs>
                      <a:gs pos="86000">
                        <a:srgbClr val="292929">
                          <a:lumMod val="90000"/>
                          <a:lumOff val="10000"/>
                        </a:srgbClr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Web Jobs</a:t>
              </a:r>
              <a:endParaRPr lang="en-GB" sz="1000" kern="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9198896" y="1782954"/>
              <a:ext cx="302532" cy="335614"/>
              <a:chOff x="9198896" y="1800315"/>
              <a:chExt cx="302532" cy="335614"/>
            </a:xfrm>
          </p:grpSpPr>
          <p:pic>
            <p:nvPicPr>
              <p:cNvPr id="137" name="Picture 136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198896" y="1800315"/>
                <a:ext cx="302532" cy="301752"/>
              </a:xfrm>
              <a:prstGeom prst="rect">
                <a:avLst/>
              </a:prstGeom>
            </p:spPr>
          </p:pic>
          <p:sp>
            <p:nvSpPr>
              <p:cNvPr id="138" name="Freeform 32"/>
              <p:cNvSpPr>
                <a:spLocks/>
              </p:cNvSpPr>
              <p:nvPr/>
            </p:nvSpPr>
            <p:spPr bwMode="auto">
              <a:xfrm>
                <a:off x="9349518" y="2052161"/>
                <a:ext cx="26925" cy="37396"/>
              </a:xfrm>
              <a:custGeom>
                <a:avLst/>
                <a:gdLst>
                  <a:gd name="T0" fmla="*/ 54 w 137"/>
                  <a:gd name="T1" fmla="*/ 79 h 195"/>
                  <a:gd name="T2" fmla="*/ 42 w 137"/>
                  <a:gd name="T3" fmla="*/ 75 h 195"/>
                  <a:gd name="T4" fmla="*/ 42 w 137"/>
                  <a:gd name="T5" fmla="*/ 21 h 195"/>
                  <a:gd name="T6" fmla="*/ 21 w 137"/>
                  <a:gd name="T7" fmla="*/ 0 h 195"/>
                  <a:gd name="T8" fmla="*/ 0 w 137"/>
                  <a:gd name="T9" fmla="*/ 21 h 195"/>
                  <a:gd name="T10" fmla="*/ 0 w 137"/>
                  <a:gd name="T11" fmla="*/ 100 h 195"/>
                  <a:gd name="T12" fmla="*/ 4 w 137"/>
                  <a:gd name="T13" fmla="*/ 104 h 195"/>
                  <a:gd name="T14" fmla="*/ 13 w 137"/>
                  <a:gd name="T15" fmla="*/ 116 h 195"/>
                  <a:gd name="T16" fmla="*/ 92 w 137"/>
                  <a:gd name="T17" fmla="*/ 187 h 195"/>
                  <a:gd name="T18" fmla="*/ 125 w 137"/>
                  <a:gd name="T19" fmla="*/ 187 h 195"/>
                  <a:gd name="T20" fmla="*/ 129 w 137"/>
                  <a:gd name="T21" fmla="*/ 183 h 195"/>
                  <a:gd name="T22" fmla="*/ 129 w 137"/>
                  <a:gd name="T23" fmla="*/ 150 h 195"/>
                  <a:gd name="T24" fmla="*/ 54 w 137"/>
                  <a:gd name="T25" fmla="*/ 79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7" h="195">
                    <a:moveTo>
                      <a:pt x="54" y="79"/>
                    </a:moveTo>
                    <a:cubicBezTo>
                      <a:pt x="50" y="75"/>
                      <a:pt x="46" y="75"/>
                      <a:pt x="42" y="75"/>
                    </a:cubicBezTo>
                    <a:lnTo>
                      <a:pt x="42" y="21"/>
                    </a:lnTo>
                    <a:cubicBezTo>
                      <a:pt x="42" y="13"/>
                      <a:pt x="34" y="5"/>
                      <a:pt x="21" y="0"/>
                    </a:cubicBezTo>
                    <a:cubicBezTo>
                      <a:pt x="9" y="0"/>
                      <a:pt x="0" y="9"/>
                      <a:pt x="0" y="21"/>
                    </a:cubicBezTo>
                    <a:lnTo>
                      <a:pt x="0" y="100"/>
                    </a:lnTo>
                    <a:cubicBezTo>
                      <a:pt x="0" y="104"/>
                      <a:pt x="0" y="104"/>
                      <a:pt x="4" y="104"/>
                    </a:cubicBezTo>
                    <a:cubicBezTo>
                      <a:pt x="4" y="108"/>
                      <a:pt x="9" y="112"/>
                      <a:pt x="13" y="116"/>
                    </a:cubicBezTo>
                    <a:lnTo>
                      <a:pt x="92" y="187"/>
                    </a:lnTo>
                    <a:cubicBezTo>
                      <a:pt x="100" y="195"/>
                      <a:pt x="116" y="195"/>
                      <a:pt x="125" y="187"/>
                    </a:cubicBezTo>
                    <a:lnTo>
                      <a:pt x="129" y="183"/>
                    </a:lnTo>
                    <a:cubicBezTo>
                      <a:pt x="137" y="174"/>
                      <a:pt x="137" y="158"/>
                      <a:pt x="129" y="150"/>
                    </a:cubicBezTo>
                    <a:lnTo>
                      <a:pt x="54" y="79"/>
                    </a:lnTo>
                    <a:close/>
                  </a:path>
                </a:pathLst>
              </a:custGeom>
              <a:solidFill>
                <a:srgbClr val="006FD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6170" tIns="38085" rIns="76170" bIns="380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99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9" name="Oval 33"/>
              <p:cNvSpPr>
                <a:spLocks noChangeArrowheads="1"/>
              </p:cNvSpPr>
              <p:nvPr/>
            </p:nvSpPr>
            <p:spPr bwMode="auto">
              <a:xfrm>
                <a:off x="9321097" y="2068616"/>
                <a:ext cx="2992" cy="2992"/>
              </a:xfrm>
              <a:prstGeom prst="ellipse">
                <a:avLst/>
              </a:prstGeom>
              <a:solidFill>
                <a:srgbClr val="006FD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6170" tIns="38085" rIns="76170" bIns="380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99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0" name="Oval 34"/>
              <p:cNvSpPr>
                <a:spLocks noChangeArrowheads="1"/>
              </p:cNvSpPr>
              <p:nvPr/>
            </p:nvSpPr>
            <p:spPr bwMode="auto">
              <a:xfrm>
                <a:off x="9351014" y="2038698"/>
                <a:ext cx="2992" cy="2992"/>
              </a:xfrm>
              <a:prstGeom prst="ellipse">
                <a:avLst/>
              </a:prstGeom>
              <a:solidFill>
                <a:srgbClr val="006FD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6170" tIns="38085" rIns="76170" bIns="380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99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1" name="Oval 35"/>
              <p:cNvSpPr>
                <a:spLocks noChangeArrowheads="1"/>
              </p:cNvSpPr>
              <p:nvPr/>
            </p:nvSpPr>
            <p:spPr bwMode="auto">
              <a:xfrm>
                <a:off x="9385418" y="2067120"/>
                <a:ext cx="2992" cy="2992"/>
              </a:xfrm>
              <a:prstGeom prst="ellipse">
                <a:avLst/>
              </a:prstGeom>
              <a:solidFill>
                <a:srgbClr val="006FD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6170" tIns="38085" rIns="76170" bIns="380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99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2" name="Oval 36"/>
              <p:cNvSpPr>
                <a:spLocks noChangeArrowheads="1"/>
              </p:cNvSpPr>
              <p:nvPr/>
            </p:nvSpPr>
            <p:spPr bwMode="auto">
              <a:xfrm>
                <a:off x="9349518" y="2101524"/>
                <a:ext cx="2992" cy="2992"/>
              </a:xfrm>
              <a:prstGeom prst="ellipse">
                <a:avLst/>
              </a:prstGeom>
              <a:solidFill>
                <a:srgbClr val="006FD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6170" tIns="38085" rIns="76170" bIns="380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99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3" name="Freeform 37"/>
              <p:cNvSpPr>
                <a:spLocks noEditPoints="1"/>
              </p:cNvSpPr>
              <p:nvPr/>
            </p:nvSpPr>
            <p:spPr bwMode="auto">
              <a:xfrm>
                <a:off x="9289684" y="2008781"/>
                <a:ext cx="128644" cy="127148"/>
              </a:xfrm>
              <a:custGeom>
                <a:avLst/>
                <a:gdLst>
                  <a:gd name="T0" fmla="*/ 588 w 659"/>
                  <a:gd name="T1" fmla="*/ 294 h 658"/>
                  <a:gd name="T2" fmla="*/ 634 w 659"/>
                  <a:gd name="T3" fmla="*/ 194 h 658"/>
                  <a:gd name="T4" fmla="*/ 547 w 659"/>
                  <a:gd name="T5" fmla="*/ 174 h 658"/>
                  <a:gd name="T6" fmla="*/ 543 w 659"/>
                  <a:gd name="T7" fmla="*/ 169 h 658"/>
                  <a:gd name="T8" fmla="*/ 563 w 659"/>
                  <a:gd name="T9" fmla="*/ 91 h 658"/>
                  <a:gd name="T10" fmla="*/ 472 w 659"/>
                  <a:gd name="T11" fmla="*/ 103 h 658"/>
                  <a:gd name="T12" fmla="*/ 439 w 659"/>
                  <a:gd name="T13" fmla="*/ 16 h 658"/>
                  <a:gd name="T14" fmla="*/ 377 w 659"/>
                  <a:gd name="T15" fmla="*/ 0 h 658"/>
                  <a:gd name="T16" fmla="*/ 327 w 659"/>
                  <a:gd name="T17" fmla="*/ 66 h 658"/>
                  <a:gd name="T18" fmla="*/ 269 w 659"/>
                  <a:gd name="T19" fmla="*/ 4 h 658"/>
                  <a:gd name="T20" fmla="*/ 207 w 659"/>
                  <a:gd name="T21" fmla="*/ 20 h 658"/>
                  <a:gd name="T22" fmla="*/ 178 w 659"/>
                  <a:gd name="T23" fmla="*/ 111 h 658"/>
                  <a:gd name="T24" fmla="*/ 87 w 659"/>
                  <a:gd name="T25" fmla="*/ 103 h 658"/>
                  <a:gd name="T26" fmla="*/ 91 w 659"/>
                  <a:gd name="T27" fmla="*/ 157 h 658"/>
                  <a:gd name="T28" fmla="*/ 91 w 659"/>
                  <a:gd name="T29" fmla="*/ 215 h 658"/>
                  <a:gd name="T30" fmla="*/ 0 w 659"/>
                  <a:gd name="T31" fmla="*/ 277 h 658"/>
                  <a:gd name="T32" fmla="*/ 66 w 659"/>
                  <a:gd name="T33" fmla="*/ 331 h 658"/>
                  <a:gd name="T34" fmla="*/ 4 w 659"/>
                  <a:gd name="T35" fmla="*/ 389 h 658"/>
                  <a:gd name="T36" fmla="*/ 91 w 659"/>
                  <a:gd name="T37" fmla="*/ 451 h 658"/>
                  <a:gd name="T38" fmla="*/ 74 w 659"/>
                  <a:gd name="T39" fmla="*/ 547 h 658"/>
                  <a:gd name="T40" fmla="*/ 120 w 659"/>
                  <a:gd name="T41" fmla="*/ 588 h 658"/>
                  <a:gd name="T42" fmla="*/ 182 w 659"/>
                  <a:gd name="T43" fmla="*/ 551 h 658"/>
                  <a:gd name="T44" fmla="*/ 215 w 659"/>
                  <a:gd name="T45" fmla="*/ 642 h 658"/>
                  <a:gd name="T46" fmla="*/ 311 w 659"/>
                  <a:gd name="T47" fmla="*/ 596 h 658"/>
                  <a:gd name="T48" fmla="*/ 352 w 659"/>
                  <a:gd name="T49" fmla="*/ 596 h 658"/>
                  <a:gd name="T50" fmla="*/ 389 w 659"/>
                  <a:gd name="T51" fmla="*/ 658 h 658"/>
                  <a:gd name="T52" fmla="*/ 452 w 659"/>
                  <a:gd name="T53" fmla="*/ 642 h 658"/>
                  <a:gd name="T54" fmla="*/ 481 w 659"/>
                  <a:gd name="T55" fmla="*/ 555 h 658"/>
                  <a:gd name="T56" fmla="*/ 485 w 659"/>
                  <a:gd name="T57" fmla="*/ 555 h 658"/>
                  <a:gd name="T58" fmla="*/ 568 w 659"/>
                  <a:gd name="T59" fmla="*/ 571 h 658"/>
                  <a:gd name="T60" fmla="*/ 555 w 659"/>
                  <a:gd name="T61" fmla="*/ 484 h 658"/>
                  <a:gd name="T62" fmla="*/ 555 w 659"/>
                  <a:gd name="T63" fmla="*/ 480 h 658"/>
                  <a:gd name="T64" fmla="*/ 642 w 659"/>
                  <a:gd name="T65" fmla="*/ 451 h 658"/>
                  <a:gd name="T66" fmla="*/ 659 w 659"/>
                  <a:gd name="T67" fmla="*/ 389 h 658"/>
                  <a:gd name="T68" fmla="*/ 588 w 659"/>
                  <a:gd name="T69" fmla="*/ 315 h 658"/>
                  <a:gd name="T70" fmla="*/ 331 w 659"/>
                  <a:gd name="T71" fmla="*/ 522 h 658"/>
                  <a:gd name="T72" fmla="*/ 128 w 659"/>
                  <a:gd name="T73" fmla="*/ 323 h 658"/>
                  <a:gd name="T74" fmla="*/ 327 w 659"/>
                  <a:gd name="T75" fmla="*/ 120 h 658"/>
                  <a:gd name="T76" fmla="*/ 530 w 659"/>
                  <a:gd name="T77" fmla="*/ 319 h 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659" h="658">
                    <a:moveTo>
                      <a:pt x="588" y="315"/>
                    </a:moveTo>
                    <a:cubicBezTo>
                      <a:pt x="588" y="306"/>
                      <a:pt x="588" y="302"/>
                      <a:pt x="588" y="294"/>
                    </a:cubicBezTo>
                    <a:lnTo>
                      <a:pt x="650" y="257"/>
                    </a:lnTo>
                    <a:cubicBezTo>
                      <a:pt x="646" y="236"/>
                      <a:pt x="642" y="215"/>
                      <a:pt x="634" y="194"/>
                    </a:cubicBezTo>
                    <a:lnTo>
                      <a:pt x="563" y="199"/>
                    </a:lnTo>
                    <a:cubicBezTo>
                      <a:pt x="559" y="190"/>
                      <a:pt x="555" y="182"/>
                      <a:pt x="547" y="174"/>
                    </a:cubicBezTo>
                    <a:cubicBezTo>
                      <a:pt x="547" y="174"/>
                      <a:pt x="543" y="169"/>
                      <a:pt x="543" y="169"/>
                    </a:cubicBezTo>
                    <a:cubicBezTo>
                      <a:pt x="543" y="169"/>
                      <a:pt x="543" y="169"/>
                      <a:pt x="543" y="169"/>
                    </a:cubicBezTo>
                    <a:lnTo>
                      <a:pt x="580" y="107"/>
                    </a:lnTo>
                    <a:cubicBezTo>
                      <a:pt x="576" y="103"/>
                      <a:pt x="568" y="95"/>
                      <a:pt x="563" y="91"/>
                    </a:cubicBezTo>
                    <a:cubicBezTo>
                      <a:pt x="555" y="82"/>
                      <a:pt x="543" y="74"/>
                      <a:pt x="534" y="66"/>
                    </a:cubicBezTo>
                    <a:lnTo>
                      <a:pt x="472" y="103"/>
                    </a:lnTo>
                    <a:cubicBezTo>
                      <a:pt x="460" y="95"/>
                      <a:pt x="452" y="91"/>
                      <a:pt x="439" y="87"/>
                    </a:cubicBezTo>
                    <a:lnTo>
                      <a:pt x="439" y="16"/>
                    </a:lnTo>
                    <a:cubicBezTo>
                      <a:pt x="439" y="16"/>
                      <a:pt x="439" y="16"/>
                      <a:pt x="439" y="16"/>
                    </a:cubicBezTo>
                    <a:cubicBezTo>
                      <a:pt x="418" y="8"/>
                      <a:pt x="398" y="4"/>
                      <a:pt x="377" y="0"/>
                    </a:cubicBezTo>
                    <a:lnTo>
                      <a:pt x="344" y="66"/>
                    </a:lnTo>
                    <a:cubicBezTo>
                      <a:pt x="340" y="66"/>
                      <a:pt x="331" y="66"/>
                      <a:pt x="327" y="66"/>
                    </a:cubicBezTo>
                    <a:cubicBezTo>
                      <a:pt x="319" y="66"/>
                      <a:pt x="315" y="66"/>
                      <a:pt x="306" y="66"/>
                    </a:cubicBezTo>
                    <a:lnTo>
                      <a:pt x="269" y="4"/>
                    </a:lnTo>
                    <a:cubicBezTo>
                      <a:pt x="248" y="8"/>
                      <a:pt x="228" y="12"/>
                      <a:pt x="207" y="20"/>
                    </a:cubicBezTo>
                    <a:cubicBezTo>
                      <a:pt x="207" y="20"/>
                      <a:pt x="207" y="20"/>
                      <a:pt x="207" y="20"/>
                    </a:cubicBezTo>
                    <a:lnTo>
                      <a:pt x="211" y="91"/>
                    </a:lnTo>
                    <a:cubicBezTo>
                      <a:pt x="199" y="95"/>
                      <a:pt x="190" y="103"/>
                      <a:pt x="178" y="111"/>
                    </a:cubicBezTo>
                    <a:lnTo>
                      <a:pt x="116" y="74"/>
                    </a:lnTo>
                    <a:cubicBezTo>
                      <a:pt x="108" y="82"/>
                      <a:pt x="95" y="91"/>
                      <a:pt x="87" y="103"/>
                    </a:cubicBezTo>
                    <a:cubicBezTo>
                      <a:pt x="83" y="107"/>
                      <a:pt x="74" y="116"/>
                      <a:pt x="70" y="120"/>
                    </a:cubicBezTo>
                    <a:lnTo>
                      <a:pt x="91" y="157"/>
                    </a:lnTo>
                    <a:lnTo>
                      <a:pt x="108" y="182"/>
                    </a:lnTo>
                    <a:cubicBezTo>
                      <a:pt x="99" y="194"/>
                      <a:pt x="95" y="203"/>
                      <a:pt x="91" y="215"/>
                    </a:cubicBezTo>
                    <a:lnTo>
                      <a:pt x="16" y="215"/>
                    </a:lnTo>
                    <a:cubicBezTo>
                      <a:pt x="8" y="236"/>
                      <a:pt x="4" y="257"/>
                      <a:pt x="0" y="277"/>
                    </a:cubicBezTo>
                    <a:lnTo>
                      <a:pt x="66" y="310"/>
                    </a:lnTo>
                    <a:cubicBezTo>
                      <a:pt x="66" y="319"/>
                      <a:pt x="66" y="323"/>
                      <a:pt x="66" y="331"/>
                    </a:cubicBezTo>
                    <a:cubicBezTo>
                      <a:pt x="66" y="339"/>
                      <a:pt x="66" y="344"/>
                      <a:pt x="66" y="352"/>
                    </a:cubicBezTo>
                    <a:lnTo>
                      <a:pt x="4" y="389"/>
                    </a:lnTo>
                    <a:cubicBezTo>
                      <a:pt x="8" y="410"/>
                      <a:pt x="12" y="431"/>
                      <a:pt x="21" y="451"/>
                    </a:cubicBezTo>
                    <a:lnTo>
                      <a:pt x="91" y="451"/>
                    </a:lnTo>
                    <a:cubicBezTo>
                      <a:pt x="95" y="464"/>
                      <a:pt x="103" y="472"/>
                      <a:pt x="112" y="484"/>
                    </a:cubicBezTo>
                    <a:lnTo>
                      <a:pt x="74" y="547"/>
                    </a:lnTo>
                    <a:cubicBezTo>
                      <a:pt x="87" y="559"/>
                      <a:pt x="95" y="571"/>
                      <a:pt x="108" y="580"/>
                    </a:cubicBezTo>
                    <a:cubicBezTo>
                      <a:pt x="112" y="584"/>
                      <a:pt x="116" y="584"/>
                      <a:pt x="120" y="588"/>
                    </a:cubicBezTo>
                    <a:lnTo>
                      <a:pt x="157" y="567"/>
                    </a:lnTo>
                    <a:lnTo>
                      <a:pt x="182" y="551"/>
                    </a:lnTo>
                    <a:cubicBezTo>
                      <a:pt x="195" y="559"/>
                      <a:pt x="203" y="563"/>
                      <a:pt x="215" y="567"/>
                    </a:cubicBezTo>
                    <a:lnTo>
                      <a:pt x="215" y="642"/>
                    </a:lnTo>
                    <a:cubicBezTo>
                      <a:pt x="236" y="650"/>
                      <a:pt x="257" y="654"/>
                      <a:pt x="277" y="658"/>
                    </a:cubicBezTo>
                    <a:lnTo>
                      <a:pt x="311" y="596"/>
                    </a:lnTo>
                    <a:cubicBezTo>
                      <a:pt x="319" y="596"/>
                      <a:pt x="323" y="596"/>
                      <a:pt x="331" y="596"/>
                    </a:cubicBezTo>
                    <a:cubicBezTo>
                      <a:pt x="340" y="596"/>
                      <a:pt x="344" y="596"/>
                      <a:pt x="352" y="596"/>
                    </a:cubicBezTo>
                    <a:lnTo>
                      <a:pt x="369" y="621"/>
                    </a:lnTo>
                    <a:lnTo>
                      <a:pt x="389" y="658"/>
                    </a:lnTo>
                    <a:cubicBezTo>
                      <a:pt x="410" y="654"/>
                      <a:pt x="431" y="650"/>
                      <a:pt x="452" y="642"/>
                    </a:cubicBezTo>
                    <a:cubicBezTo>
                      <a:pt x="452" y="642"/>
                      <a:pt x="452" y="642"/>
                      <a:pt x="452" y="642"/>
                    </a:cubicBezTo>
                    <a:lnTo>
                      <a:pt x="452" y="571"/>
                    </a:lnTo>
                    <a:cubicBezTo>
                      <a:pt x="460" y="567"/>
                      <a:pt x="472" y="563"/>
                      <a:pt x="481" y="555"/>
                    </a:cubicBezTo>
                    <a:cubicBezTo>
                      <a:pt x="481" y="555"/>
                      <a:pt x="481" y="555"/>
                      <a:pt x="481" y="555"/>
                    </a:cubicBezTo>
                    <a:cubicBezTo>
                      <a:pt x="481" y="555"/>
                      <a:pt x="481" y="555"/>
                      <a:pt x="485" y="555"/>
                    </a:cubicBezTo>
                    <a:lnTo>
                      <a:pt x="547" y="592"/>
                    </a:lnTo>
                    <a:cubicBezTo>
                      <a:pt x="555" y="588"/>
                      <a:pt x="559" y="580"/>
                      <a:pt x="568" y="571"/>
                    </a:cubicBezTo>
                    <a:cubicBezTo>
                      <a:pt x="576" y="563"/>
                      <a:pt x="584" y="555"/>
                      <a:pt x="592" y="547"/>
                    </a:cubicBezTo>
                    <a:lnTo>
                      <a:pt x="555" y="484"/>
                    </a:lnTo>
                    <a:cubicBezTo>
                      <a:pt x="555" y="484"/>
                      <a:pt x="555" y="484"/>
                      <a:pt x="555" y="480"/>
                    </a:cubicBezTo>
                    <a:cubicBezTo>
                      <a:pt x="555" y="480"/>
                      <a:pt x="555" y="480"/>
                      <a:pt x="555" y="480"/>
                    </a:cubicBezTo>
                    <a:cubicBezTo>
                      <a:pt x="559" y="472"/>
                      <a:pt x="568" y="460"/>
                      <a:pt x="572" y="451"/>
                    </a:cubicBezTo>
                    <a:lnTo>
                      <a:pt x="642" y="451"/>
                    </a:lnTo>
                    <a:cubicBezTo>
                      <a:pt x="642" y="451"/>
                      <a:pt x="642" y="451"/>
                      <a:pt x="642" y="451"/>
                    </a:cubicBezTo>
                    <a:cubicBezTo>
                      <a:pt x="650" y="431"/>
                      <a:pt x="655" y="410"/>
                      <a:pt x="659" y="389"/>
                    </a:cubicBezTo>
                    <a:lnTo>
                      <a:pt x="592" y="356"/>
                    </a:lnTo>
                    <a:cubicBezTo>
                      <a:pt x="588" y="327"/>
                      <a:pt x="588" y="323"/>
                      <a:pt x="588" y="315"/>
                    </a:cubicBezTo>
                    <a:close/>
                    <a:moveTo>
                      <a:pt x="365" y="518"/>
                    </a:moveTo>
                    <a:cubicBezTo>
                      <a:pt x="352" y="522"/>
                      <a:pt x="344" y="522"/>
                      <a:pt x="331" y="522"/>
                    </a:cubicBezTo>
                    <a:cubicBezTo>
                      <a:pt x="286" y="522"/>
                      <a:pt x="240" y="509"/>
                      <a:pt x="207" y="480"/>
                    </a:cubicBezTo>
                    <a:cubicBezTo>
                      <a:pt x="157" y="443"/>
                      <a:pt x="128" y="385"/>
                      <a:pt x="128" y="323"/>
                    </a:cubicBezTo>
                    <a:cubicBezTo>
                      <a:pt x="128" y="277"/>
                      <a:pt x="145" y="232"/>
                      <a:pt x="170" y="199"/>
                    </a:cubicBezTo>
                    <a:cubicBezTo>
                      <a:pt x="207" y="149"/>
                      <a:pt x="261" y="120"/>
                      <a:pt x="327" y="120"/>
                    </a:cubicBezTo>
                    <a:cubicBezTo>
                      <a:pt x="402" y="120"/>
                      <a:pt x="464" y="157"/>
                      <a:pt x="501" y="215"/>
                    </a:cubicBezTo>
                    <a:cubicBezTo>
                      <a:pt x="522" y="244"/>
                      <a:pt x="530" y="281"/>
                      <a:pt x="530" y="319"/>
                    </a:cubicBezTo>
                    <a:cubicBezTo>
                      <a:pt x="530" y="414"/>
                      <a:pt x="460" y="497"/>
                      <a:pt x="365" y="518"/>
                    </a:cubicBezTo>
                    <a:close/>
                  </a:path>
                </a:pathLst>
              </a:custGeom>
              <a:solidFill>
                <a:srgbClr val="006FD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6170" tIns="38085" rIns="76170" bIns="380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99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4" name="Freeform 38"/>
              <p:cNvSpPr>
                <a:spLocks noEditPoints="1"/>
              </p:cNvSpPr>
              <p:nvPr/>
            </p:nvSpPr>
            <p:spPr bwMode="auto">
              <a:xfrm>
                <a:off x="9409352" y="2005790"/>
                <a:ext cx="85264" cy="85264"/>
              </a:xfrm>
              <a:custGeom>
                <a:avLst/>
                <a:gdLst>
                  <a:gd name="T0" fmla="*/ 431 w 435"/>
                  <a:gd name="T1" fmla="*/ 245 h 435"/>
                  <a:gd name="T2" fmla="*/ 385 w 435"/>
                  <a:gd name="T3" fmla="*/ 216 h 435"/>
                  <a:gd name="T4" fmla="*/ 381 w 435"/>
                  <a:gd name="T5" fmla="*/ 178 h 435"/>
                  <a:gd name="T6" fmla="*/ 423 w 435"/>
                  <a:gd name="T7" fmla="*/ 129 h 435"/>
                  <a:gd name="T8" fmla="*/ 398 w 435"/>
                  <a:gd name="T9" fmla="*/ 83 h 435"/>
                  <a:gd name="T10" fmla="*/ 390 w 435"/>
                  <a:gd name="T11" fmla="*/ 83 h 435"/>
                  <a:gd name="T12" fmla="*/ 336 w 435"/>
                  <a:gd name="T13" fmla="*/ 95 h 435"/>
                  <a:gd name="T14" fmla="*/ 307 w 435"/>
                  <a:gd name="T15" fmla="*/ 75 h 435"/>
                  <a:gd name="T16" fmla="*/ 303 w 435"/>
                  <a:gd name="T17" fmla="*/ 13 h 435"/>
                  <a:gd name="T18" fmla="*/ 253 w 435"/>
                  <a:gd name="T19" fmla="*/ 0 h 435"/>
                  <a:gd name="T20" fmla="*/ 249 w 435"/>
                  <a:gd name="T21" fmla="*/ 8 h 435"/>
                  <a:gd name="T22" fmla="*/ 220 w 435"/>
                  <a:gd name="T23" fmla="*/ 54 h 435"/>
                  <a:gd name="T24" fmla="*/ 182 w 435"/>
                  <a:gd name="T25" fmla="*/ 58 h 435"/>
                  <a:gd name="T26" fmla="*/ 133 w 435"/>
                  <a:gd name="T27" fmla="*/ 17 h 435"/>
                  <a:gd name="T28" fmla="*/ 91 w 435"/>
                  <a:gd name="T29" fmla="*/ 42 h 435"/>
                  <a:gd name="T30" fmla="*/ 91 w 435"/>
                  <a:gd name="T31" fmla="*/ 50 h 435"/>
                  <a:gd name="T32" fmla="*/ 104 w 435"/>
                  <a:gd name="T33" fmla="*/ 104 h 435"/>
                  <a:gd name="T34" fmla="*/ 83 w 435"/>
                  <a:gd name="T35" fmla="*/ 133 h 435"/>
                  <a:gd name="T36" fmla="*/ 21 w 435"/>
                  <a:gd name="T37" fmla="*/ 137 h 435"/>
                  <a:gd name="T38" fmla="*/ 0 w 435"/>
                  <a:gd name="T39" fmla="*/ 187 h 435"/>
                  <a:gd name="T40" fmla="*/ 8 w 435"/>
                  <a:gd name="T41" fmla="*/ 191 h 435"/>
                  <a:gd name="T42" fmla="*/ 54 w 435"/>
                  <a:gd name="T43" fmla="*/ 220 h 435"/>
                  <a:gd name="T44" fmla="*/ 58 w 435"/>
                  <a:gd name="T45" fmla="*/ 257 h 435"/>
                  <a:gd name="T46" fmla="*/ 21 w 435"/>
                  <a:gd name="T47" fmla="*/ 303 h 435"/>
                  <a:gd name="T48" fmla="*/ 29 w 435"/>
                  <a:gd name="T49" fmla="*/ 328 h 435"/>
                  <a:gd name="T50" fmla="*/ 41 w 435"/>
                  <a:gd name="T51" fmla="*/ 352 h 435"/>
                  <a:gd name="T52" fmla="*/ 50 w 435"/>
                  <a:gd name="T53" fmla="*/ 352 h 435"/>
                  <a:gd name="T54" fmla="*/ 104 w 435"/>
                  <a:gd name="T55" fmla="*/ 340 h 435"/>
                  <a:gd name="T56" fmla="*/ 133 w 435"/>
                  <a:gd name="T57" fmla="*/ 361 h 435"/>
                  <a:gd name="T58" fmla="*/ 137 w 435"/>
                  <a:gd name="T59" fmla="*/ 423 h 435"/>
                  <a:gd name="T60" fmla="*/ 186 w 435"/>
                  <a:gd name="T61" fmla="*/ 435 h 435"/>
                  <a:gd name="T62" fmla="*/ 191 w 435"/>
                  <a:gd name="T63" fmla="*/ 427 h 435"/>
                  <a:gd name="T64" fmla="*/ 220 w 435"/>
                  <a:gd name="T65" fmla="*/ 381 h 435"/>
                  <a:gd name="T66" fmla="*/ 257 w 435"/>
                  <a:gd name="T67" fmla="*/ 377 h 435"/>
                  <a:gd name="T68" fmla="*/ 307 w 435"/>
                  <a:gd name="T69" fmla="*/ 419 h 435"/>
                  <a:gd name="T70" fmla="*/ 348 w 435"/>
                  <a:gd name="T71" fmla="*/ 394 h 435"/>
                  <a:gd name="T72" fmla="*/ 348 w 435"/>
                  <a:gd name="T73" fmla="*/ 386 h 435"/>
                  <a:gd name="T74" fmla="*/ 336 w 435"/>
                  <a:gd name="T75" fmla="*/ 332 h 435"/>
                  <a:gd name="T76" fmla="*/ 356 w 435"/>
                  <a:gd name="T77" fmla="*/ 303 h 435"/>
                  <a:gd name="T78" fmla="*/ 423 w 435"/>
                  <a:gd name="T79" fmla="*/ 299 h 435"/>
                  <a:gd name="T80" fmla="*/ 435 w 435"/>
                  <a:gd name="T81" fmla="*/ 249 h 435"/>
                  <a:gd name="T82" fmla="*/ 431 w 435"/>
                  <a:gd name="T83" fmla="*/ 245 h 435"/>
                  <a:gd name="T84" fmla="*/ 286 w 435"/>
                  <a:gd name="T85" fmla="*/ 236 h 435"/>
                  <a:gd name="T86" fmla="*/ 199 w 435"/>
                  <a:gd name="T87" fmla="*/ 286 h 435"/>
                  <a:gd name="T88" fmla="*/ 149 w 435"/>
                  <a:gd name="T89" fmla="*/ 199 h 435"/>
                  <a:gd name="T90" fmla="*/ 236 w 435"/>
                  <a:gd name="T91" fmla="*/ 149 h 435"/>
                  <a:gd name="T92" fmla="*/ 286 w 435"/>
                  <a:gd name="T93" fmla="*/ 236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35" h="435">
                    <a:moveTo>
                      <a:pt x="431" y="245"/>
                    </a:moveTo>
                    <a:lnTo>
                      <a:pt x="385" y="216"/>
                    </a:lnTo>
                    <a:lnTo>
                      <a:pt x="381" y="178"/>
                    </a:lnTo>
                    <a:lnTo>
                      <a:pt x="423" y="129"/>
                    </a:lnTo>
                    <a:lnTo>
                      <a:pt x="398" y="83"/>
                    </a:lnTo>
                    <a:lnTo>
                      <a:pt x="390" y="83"/>
                    </a:lnTo>
                    <a:lnTo>
                      <a:pt x="336" y="95"/>
                    </a:lnTo>
                    <a:lnTo>
                      <a:pt x="307" y="75"/>
                    </a:lnTo>
                    <a:lnTo>
                      <a:pt x="303" y="13"/>
                    </a:lnTo>
                    <a:lnTo>
                      <a:pt x="253" y="0"/>
                    </a:lnTo>
                    <a:lnTo>
                      <a:pt x="249" y="8"/>
                    </a:lnTo>
                    <a:lnTo>
                      <a:pt x="220" y="54"/>
                    </a:lnTo>
                    <a:lnTo>
                      <a:pt x="182" y="58"/>
                    </a:lnTo>
                    <a:lnTo>
                      <a:pt x="133" y="17"/>
                    </a:lnTo>
                    <a:lnTo>
                      <a:pt x="91" y="42"/>
                    </a:lnTo>
                    <a:lnTo>
                      <a:pt x="91" y="50"/>
                    </a:lnTo>
                    <a:lnTo>
                      <a:pt x="104" y="104"/>
                    </a:lnTo>
                    <a:lnTo>
                      <a:pt x="83" y="133"/>
                    </a:lnTo>
                    <a:lnTo>
                      <a:pt x="21" y="137"/>
                    </a:lnTo>
                    <a:lnTo>
                      <a:pt x="0" y="187"/>
                    </a:lnTo>
                    <a:lnTo>
                      <a:pt x="8" y="191"/>
                    </a:lnTo>
                    <a:lnTo>
                      <a:pt x="54" y="220"/>
                    </a:lnTo>
                    <a:lnTo>
                      <a:pt x="58" y="257"/>
                    </a:lnTo>
                    <a:lnTo>
                      <a:pt x="21" y="303"/>
                    </a:lnTo>
                    <a:cubicBezTo>
                      <a:pt x="25" y="311"/>
                      <a:pt x="25" y="319"/>
                      <a:pt x="29" y="328"/>
                    </a:cubicBezTo>
                    <a:lnTo>
                      <a:pt x="41" y="352"/>
                    </a:lnTo>
                    <a:lnTo>
                      <a:pt x="50" y="352"/>
                    </a:lnTo>
                    <a:lnTo>
                      <a:pt x="104" y="340"/>
                    </a:lnTo>
                    <a:lnTo>
                      <a:pt x="133" y="361"/>
                    </a:lnTo>
                    <a:lnTo>
                      <a:pt x="137" y="423"/>
                    </a:lnTo>
                    <a:lnTo>
                      <a:pt x="186" y="435"/>
                    </a:lnTo>
                    <a:lnTo>
                      <a:pt x="191" y="427"/>
                    </a:lnTo>
                    <a:lnTo>
                      <a:pt x="220" y="381"/>
                    </a:lnTo>
                    <a:lnTo>
                      <a:pt x="257" y="377"/>
                    </a:lnTo>
                    <a:lnTo>
                      <a:pt x="307" y="419"/>
                    </a:lnTo>
                    <a:lnTo>
                      <a:pt x="348" y="394"/>
                    </a:lnTo>
                    <a:lnTo>
                      <a:pt x="348" y="386"/>
                    </a:lnTo>
                    <a:lnTo>
                      <a:pt x="336" y="332"/>
                    </a:lnTo>
                    <a:lnTo>
                      <a:pt x="356" y="303"/>
                    </a:lnTo>
                    <a:lnTo>
                      <a:pt x="423" y="299"/>
                    </a:lnTo>
                    <a:lnTo>
                      <a:pt x="435" y="249"/>
                    </a:lnTo>
                    <a:lnTo>
                      <a:pt x="431" y="245"/>
                    </a:lnTo>
                    <a:close/>
                    <a:moveTo>
                      <a:pt x="286" y="236"/>
                    </a:moveTo>
                    <a:cubicBezTo>
                      <a:pt x="278" y="274"/>
                      <a:pt x="236" y="294"/>
                      <a:pt x="199" y="286"/>
                    </a:cubicBezTo>
                    <a:cubicBezTo>
                      <a:pt x="162" y="278"/>
                      <a:pt x="141" y="236"/>
                      <a:pt x="149" y="199"/>
                    </a:cubicBezTo>
                    <a:cubicBezTo>
                      <a:pt x="157" y="162"/>
                      <a:pt x="199" y="137"/>
                      <a:pt x="236" y="149"/>
                    </a:cubicBezTo>
                    <a:cubicBezTo>
                      <a:pt x="274" y="162"/>
                      <a:pt x="294" y="199"/>
                      <a:pt x="286" y="236"/>
                    </a:cubicBezTo>
                    <a:close/>
                  </a:path>
                </a:pathLst>
              </a:custGeom>
              <a:solidFill>
                <a:srgbClr val="006FD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6170" tIns="38085" rIns="76170" bIns="3808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99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21" name="Group 20"/>
          <p:cNvGrpSpPr/>
          <p:nvPr/>
        </p:nvGrpSpPr>
        <p:grpSpPr>
          <a:xfrm>
            <a:off x="5960119" y="3708598"/>
            <a:ext cx="597549" cy="568564"/>
            <a:chOff x="7154936" y="5829940"/>
            <a:chExt cx="717339" cy="682544"/>
          </a:xfrm>
        </p:grpSpPr>
        <p:sp>
          <p:nvSpPr>
            <p:cNvPr id="52" name="TextBox 51"/>
            <p:cNvSpPr txBox="1"/>
            <p:nvPr/>
          </p:nvSpPr>
          <p:spPr>
            <a:xfrm>
              <a:off x="7154936" y="6346285"/>
              <a:ext cx="717339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2591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000" kern="0" dirty="0">
                  <a:gradFill>
                    <a:gsLst>
                      <a:gs pos="0">
                        <a:srgbClr val="292929">
                          <a:lumMod val="90000"/>
                          <a:lumOff val="10000"/>
                        </a:srgbClr>
                      </a:gs>
                      <a:gs pos="86000">
                        <a:srgbClr val="292929">
                          <a:lumMod val="90000"/>
                          <a:lumOff val="10000"/>
                        </a:srgbClr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Storage</a:t>
              </a:r>
              <a:endParaRPr lang="en-GB" sz="1000" kern="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49" name="Picture 14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289513" y="5829940"/>
              <a:ext cx="448185" cy="384829"/>
            </a:xfrm>
            <a:prstGeom prst="rect">
              <a:avLst/>
            </a:prstGeom>
          </p:spPr>
        </p:pic>
      </p:grpSp>
      <p:grpSp>
        <p:nvGrpSpPr>
          <p:cNvPr id="22" name="Group 21"/>
          <p:cNvGrpSpPr/>
          <p:nvPr/>
        </p:nvGrpSpPr>
        <p:grpSpPr>
          <a:xfrm>
            <a:off x="6758195" y="3655930"/>
            <a:ext cx="650019" cy="621232"/>
            <a:chOff x="8041190" y="5766714"/>
            <a:chExt cx="780327" cy="745770"/>
          </a:xfrm>
        </p:grpSpPr>
        <p:sp>
          <p:nvSpPr>
            <p:cNvPr id="53" name="TextBox 52"/>
            <p:cNvSpPr txBox="1"/>
            <p:nvPr/>
          </p:nvSpPr>
          <p:spPr>
            <a:xfrm>
              <a:off x="8041190" y="6346285"/>
              <a:ext cx="780327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2591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000" kern="0" dirty="0">
                  <a:gradFill>
                    <a:gsLst>
                      <a:gs pos="0">
                        <a:srgbClr val="292929">
                          <a:lumMod val="90000"/>
                          <a:lumOff val="10000"/>
                        </a:srgbClr>
                      </a:gs>
                      <a:gs pos="86000">
                        <a:srgbClr val="292929">
                          <a:lumMod val="90000"/>
                          <a:lumOff val="10000"/>
                        </a:srgbClr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SQL DB  </a:t>
              </a:r>
              <a:endParaRPr lang="en-GB" sz="1000" kern="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58" name="Picture 15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150922" y="5766714"/>
              <a:ext cx="339579" cy="448056"/>
            </a:xfrm>
            <a:prstGeom prst="rect">
              <a:avLst/>
            </a:prstGeom>
          </p:spPr>
        </p:pic>
      </p:grpSp>
      <p:grpSp>
        <p:nvGrpSpPr>
          <p:cNvPr id="26" name="Group 25"/>
          <p:cNvGrpSpPr/>
          <p:nvPr/>
        </p:nvGrpSpPr>
        <p:grpSpPr>
          <a:xfrm>
            <a:off x="10650028" y="1890417"/>
            <a:ext cx="1077952" cy="415336"/>
            <a:chOff x="12541635" y="2265899"/>
            <a:chExt cx="1294048" cy="498597"/>
          </a:xfrm>
        </p:grpSpPr>
        <p:sp>
          <p:nvSpPr>
            <p:cNvPr id="154" name="TextBox 153"/>
            <p:cNvSpPr txBox="1"/>
            <p:nvPr/>
          </p:nvSpPr>
          <p:spPr>
            <a:xfrm>
              <a:off x="13077838" y="2265899"/>
              <a:ext cx="757845" cy="4985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2591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000" kern="0" dirty="0">
                  <a:solidFill>
                    <a:srgbClr val="0079D6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zure Active Directory</a:t>
              </a:r>
              <a:endParaRPr lang="en-GB" sz="1000" kern="0" dirty="0">
                <a:solidFill>
                  <a:srgbClr val="0079D6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60" name="Picture 159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2541635" y="2307218"/>
              <a:ext cx="410403" cy="411480"/>
            </a:xfrm>
            <a:prstGeom prst="rect">
              <a:avLst/>
            </a:prstGeom>
          </p:spPr>
        </p:pic>
      </p:grpSp>
      <p:grpSp>
        <p:nvGrpSpPr>
          <p:cNvPr id="229" name="Group 228"/>
          <p:cNvGrpSpPr/>
          <p:nvPr/>
        </p:nvGrpSpPr>
        <p:grpSpPr>
          <a:xfrm>
            <a:off x="10648391" y="2487545"/>
            <a:ext cx="1081234" cy="335149"/>
            <a:chOff x="12562909" y="2947032"/>
            <a:chExt cx="1297988" cy="402336"/>
          </a:xfrm>
        </p:grpSpPr>
        <p:sp>
          <p:nvSpPr>
            <p:cNvPr id="170" name="TextBox 169"/>
            <p:cNvSpPr txBox="1"/>
            <p:nvPr/>
          </p:nvSpPr>
          <p:spPr>
            <a:xfrm>
              <a:off x="13103051" y="2982001"/>
              <a:ext cx="757846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2591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000" kern="0" dirty="0">
                  <a:solidFill>
                    <a:srgbClr val="0079D6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zure Data Factory</a:t>
              </a:r>
              <a:endParaRPr lang="en-GB" sz="1000" kern="0" dirty="0">
                <a:solidFill>
                  <a:srgbClr val="0079D6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64" name="Picture 163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2562909" y="2947032"/>
              <a:ext cx="402336" cy="402336"/>
            </a:xfrm>
            <a:prstGeom prst="rect">
              <a:avLst/>
            </a:prstGeom>
          </p:spPr>
        </p:pic>
      </p:grpSp>
      <p:grpSp>
        <p:nvGrpSpPr>
          <p:cNvPr id="230" name="Group 229"/>
          <p:cNvGrpSpPr/>
          <p:nvPr/>
        </p:nvGrpSpPr>
        <p:grpSpPr>
          <a:xfrm>
            <a:off x="10555094" y="3004485"/>
            <a:ext cx="1267820" cy="350383"/>
            <a:chOff x="12434042" y="3587380"/>
            <a:chExt cx="1521978" cy="420624"/>
          </a:xfrm>
        </p:grpSpPr>
        <p:sp>
          <p:nvSpPr>
            <p:cNvPr id="173" name="TextBox 172"/>
            <p:cNvSpPr txBox="1"/>
            <p:nvPr/>
          </p:nvSpPr>
          <p:spPr>
            <a:xfrm>
              <a:off x="13045383" y="3631493"/>
              <a:ext cx="910637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2591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000" kern="0" dirty="0">
                  <a:solidFill>
                    <a:srgbClr val="0079D6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HDInsight Spark/Storm</a:t>
              </a:r>
              <a:endParaRPr lang="en-GB" sz="1000" kern="0" dirty="0">
                <a:solidFill>
                  <a:srgbClr val="0079D6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66" name="Picture 165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2434042" y="3587380"/>
              <a:ext cx="540803" cy="420624"/>
            </a:xfrm>
            <a:prstGeom prst="rect">
              <a:avLst/>
            </a:prstGeom>
          </p:spPr>
        </p:pic>
      </p:grpSp>
      <p:grpSp>
        <p:nvGrpSpPr>
          <p:cNvPr id="231" name="Group 230"/>
          <p:cNvGrpSpPr/>
          <p:nvPr/>
        </p:nvGrpSpPr>
        <p:grpSpPr>
          <a:xfrm>
            <a:off x="10659951" y="3536660"/>
            <a:ext cx="1058106" cy="319915"/>
            <a:chOff x="12566982" y="4260300"/>
            <a:chExt cx="1270223" cy="384048"/>
          </a:xfrm>
        </p:grpSpPr>
        <p:sp>
          <p:nvSpPr>
            <p:cNvPr id="161" name="TextBox 160"/>
            <p:cNvSpPr txBox="1"/>
            <p:nvPr/>
          </p:nvSpPr>
          <p:spPr>
            <a:xfrm>
              <a:off x="13079360" y="4369225"/>
              <a:ext cx="757845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2591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000" kern="0" dirty="0">
                  <a:solidFill>
                    <a:srgbClr val="0079D6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gic Apps</a:t>
              </a:r>
              <a:endParaRPr lang="en-GB" sz="1000" kern="0" dirty="0">
                <a:solidFill>
                  <a:srgbClr val="0079D6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67" name="Picture 166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2566982" y="4260300"/>
              <a:ext cx="385056" cy="384048"/>
            </a:xfrm>
            <a:prstGeom prst="rect">
              <a:avLst/>
            </a:prstGeom>
          </p:spPr>
        </p:pic>
      </p:grpSp>
      <p:grpSp>
        <p:nvGrpSpPr>
          <p:cNvPr id="232" name="Group 231"/>
          <p:cNvGrpSpPr/>
          <p:nvPr/>
        </p:nvGrpSpPr>
        <p:grpSpPr>
          <a:xfrm>
            <a:off x="10659083" y="5154637"/>
            <a:ext cx="1059848" cy="319915"/>
            <a:chOff x="12575404" y="6185420"/>
            <a:chExt cx="1272314" cy="384048"/>
          </a:xfrm>
        </p:grpSpPr>
        <p:sp>
          <p:nvSpPr>
            <p:cNvPr id="213" name="TextBox 212"/>
            <p:cNvSpPr txBox="1"/>
            <p:nvPr/>
          </p:nvSpPr>
          <p:spPr>
            <a:xfrm>
              <a:off x="13056800" y="6211245"/>
              <a:ext cx="790918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2591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000" kern="0" dirty="0">
                  <a:solidFill>
                    <a:srgbClr val="0079D6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zure Data Lake</a:t>
              </a:r>
              <a:endParaRPr lang="en-GB" sz="1000" kern="0" dirty="0">
                <a:solidFill>
                  <a:srgbClr val="0079D6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76" name="Picture 175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2575404" y="6185420"/>
              <a:ext cx="292800" cy="384048"/>
            </a:xfrm>
            <a:prstGeom prst="rect">
              <a:avLst/>
            </a:prstGeom>
          </p:spPr>
        </p:pic>
      </p:grpSp>
      <p:cxnSp>
        <p:nvCxnSpPr>
          <p:cNvPr id="115" name="2   Arrow fg"/>
          <p:cNvCxnSpPr/>
          <p:nvPr/>
        </p:nvCxnSpPr>
        <p:spPr>
          <a:xfrm flipH="1" flipV="1">
            <a:off x="3180650" y="3313454"/>
            <a:ext cx="606448" cy="11191"/>
          </a:xfrm>
          <a:prstGeom prst="straightConnector1">
            <a:avLst/>
          </a:prstGeom>
          <a:noFill/>
          <a:ln w="31750" cap="flat" cmpd="sng" algn="ctr">
            <a:solidFill>
              <a:schemeClr val="accent1">
                <a:lumMod val="50000"/>
              </a:schemeClr>
            </a:solidFill>
            <a:prstDash val="solid"/>
            <a:headEnd type="stealth" w="lg" len="med"/>
            <a:tailEnd type="stealth" w="lg" len="med"/>
          </a:ln>
          <a:effectLst/>
        </p:spPr>
      </p:cxnSp>
      <p:pic>
        <p:nvPicPr>
          <p:cNvPr id="116" name="Picture 2" descr="Image result for tv display icons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8473" y="1774181"/>
            <a:ext cx="976809" cy="808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8" descr="Related image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840599" y="2138386"/>
            <a:ext cx="611753" cy="505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2" descr="Image result for tv display icons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459" y="2922422"/>
            <a:ext cx="976809" cy="808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" name="Picture 8" descr="Related image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815585" y="3286628"/>
            <a:ext cx="611753" cy="505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0" name="2   Arrow fg"/>
          <p:cNvCxnSpPr/>
          <p:nvPr/>
        </p:nvCxnSpPr>
        <p:spPr>
          <a:xfrm flipH="1" flipV="1">
            <a:off x="3169278" y="2156111"/>
            <a:ext cx="606448" cy="11191"/>
          </a:xfrm>
          <a:prstGeom prst="straightConnector1">
            <a:avLst/>
          </a:prstGeom>
          <a:noFill/>
          <a:ln w="31750" cap="flat" cmpd="sng" algn="ctr">
            <a:solidFill>
              <a:schemeClr val="accent1">
                <a:lumMod val="50000"/>
              </a:schemeClr>
            </a:solidFill>
            <a:prstDash val="solid"/>
            <a:headEnd type="stealth" w="lg" len="med"/>
            <a:tailEnd type="stealth" w="lg" len="med"/>
          </a:ln>
          <a:effectLst/>
        </p:spPr>
      </p:cxnSp>
      <p:cxnSp>
        <p:nvCxnSpPr>
          <p:cNvPr id="121" name="2   Arrow fg"/>
          <p:cNvCxnSpPr/>
          <p:nvPr/>
        </p:nvCxnSpPr>
        <p:spPr>
          <a:xfrm flipH="1" flipV="1">
            <a:off x="3196564" y="4297987"/>
            <a:ext cx="606448" cy="11191"/>
          </a:xfrm>
          <a:prstGeom prst="straightConnector1">
            <a:avLst/>
          </a:prstGeom>
          <a:noFill/>
          <a:ln w="31750" cap="flat" cmpd="sng" algn="ctr">
            <a:solidFill>
              <a:schemeClr val="accent1">
                <a:lumMod val="50000"/>
              </a:schemeClr>
            </a:solidFill>
            <a:prstDash val="solid"/>
            <a:headEnd type="stealth" w="lg" len="med"/>
            <a:tailEnd type="stealth" w="lg" len="med"/>
          </a:ln>
          <a:effectLst/>
        </p:spPr>
      </p:cxnSp>
      <p:pic>
        <p:nvPicPr>
          <p:cNvPr id="123" name="Picture 2" descr="Image result for tv display icons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9373" y="3920598"/>
            <a:ext cx="976809" cy="808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" name="Picture 8" descr="Related image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831499" y="4284804"/>
            <a:ext cx="611753" cy="505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5" name="TextBox 134"/>
          <p:cNvSpPr txBox="1"/>
          <p:nvPr/>
        </p:nvSpPr>
        <p:spPr>
          <a:xfrm>
            <a:off x="2118686" y="5474552"/>
            <a:ext cx="2542781" cy="1615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2591">
              <a:lnSpc>
                <a:spcPct val="90000"/>
              </a:lnSpc>
              <a:buSzPct val="80000"/>
            </a:pPr>
            <a:r>
              <a:rPr lang="en-US" sz="1167" kern="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Communication Protocol </a:t>
            </a:r>
            <a:r>
              <a:rPr lang="en-US" sz="1167" b="1" kern="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- AMQP </a:t>
            </a:r>
            <a:endParaRPr lang="en-GB" sz="1167" b="1" kern="0" dirty="0">
              <a:gradFill>
                <a:gsLst>
                  <a:gs pos="0">
                    <a:srgbClr val="292929">
                      <a:lumMod val="90000"/>
                      <a:lumOff val="10000"/>
                    </a:srgbClr>
                  </a:gs>
                  <a:gs pos="86000">
                    <a:srgbClr val="292929">
                      <a:lumMod val="90000"/>
                      <a:lumOff val="10000"/>
                    </a:srgbClr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76" name="Straight Connector 75"/>
          <p:cNvCxnSpPr/>
          <p:nvPr/>
        </p:nvCxnSpPr>
        <p:spPr>
          <a:xfrm>
            <a:off x="0" y="625554"/>
            <a:ext cx="12187238" cy="0"/>
          </a:xfrm>
          <a:prstGeom prst="line">
            <a:avLst/>
          </a:prstGeom>
          <a:ln w="12700">
            <a:solidFill>
              <a:srgbClr val="0072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3" name="Picture 72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5933" y="1788795"/>
            <a:ext cx="524186" cy="484597"/>
          </a:xfrm>
          <a:prstGeom prst="rect">
            <a:avLst/>
          </a:prstGeom>
        </p:spPr>
      </p:pic>
      <p:sp>
        <p:nvSpPr>
          <p:cNvPr id="74" name="TextBox 73"/>
          <p:cNvSpPr txBox="1"/>
          <p:nvPr/>
        </p:nvSpPr>
        <p:spPr>
          <a:xfrm>
            <a:off x="5292162" y="2349678"/>
            <a:ext cx="852868" cy="1384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2591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GB" sz="1000" kern="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PI App</a:t>
            </a:r>
          </a:p>
        </p:txBody>
      </p:sp>
      <p:pic>
        <p:nvPicPr>
          <p:cNvPr id="78" name="Picture 2" descr="Image result for azure DPS service icon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1274" y="1924837"/>
            <a:ext cx="739977" cy="512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TextBox 78"/>
          <p:cNvSpPr txBox="1"/>
          <p:nvPr/>
        </p:nvSpPr>
        <p:spPr>
          <a:xfrm>
            <a:off x="3891244" y="2499173"/>
            <a:ext cx="6290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100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PS</a:t>
            </a:r>
            <a:endParaRPr lang="en-GB" sz="1000" dirty="0">
              <a:gradFill>
                <a:gsLst>
                  <a:gs pos="0">
                    <a:srgbClr val="292929">
                      <a:lumMod val="90000"/>
                      <a:lumOff val="10000"/>
                    </a:srgbClr>
                  </a:gs>
                  <a:gs pos="86000">
                    <a:srgbClr val="292929">
                      <a:lumMod val="90000"/>
                      <a:lumOff val="10000"/>
                    </a:srgbClr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81" name="Group 80"/>
          <p:cNvGrpSpPr/>
          <p:nvPr/>
        </p:nvGrpSpPr>
        <p:grpSpPr>
          <a:xfrm>
            <a:off x="10564692" y="1151929"/>
            <a:ext cx="1258222" cy="356165"/>
            <a:chOff x="6779057" y="3803920"/>
            <a:chExt cx="1046229" cy="789836"/>
          </a:xfrm>
        </p:grpSpPr>
        <p:sp>
          <p:nvSpPr>
            <p:cNvPr id="82" name="TextBox 81"/>
            <p:cNvSpPr txBox="1"/>
            <p:nvPr/>
          </p:nvSpPr>
          <p:spPr>
            <a:xfrm>
              <a:off x="6779057" y="4394239"/>
              <a:ext cx="1046229" cy="1995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2591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292929">
                          <a:lumMod val="90000"/>
                          <a:lumOff val="10000"/>
                        </a:srgbClr>
                      </a:gs>
                      <a:gs pos="86000">
                        <a:srgbClr val="292929">
                          <a:lumMod val="90000"/>
                          <a:lumOff val="10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tream Analytics</a:t>
              </a: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pic>
          <p:nvPicPr>
            <p:cNvPr id="83" name="Picture 82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6940903" y="3803920"/>
              <a:ext cx="588566" cy="458803"/>
            </a:xfrm>
            <a:prstGeom prst="rect">
              <a:avLst/>
            </a:prstGeom>
          </p:spPr>
        </p:pic>
      </p:grpSp>
      <p:sp>
        <p:nvSpPr>
          <p:cNvPr id="84" name="2 Device"/>
          <p:cNvSpPr txBox="1"/>
          <p:nvPr/>
        </p:nvSpPr>
        <p:spPr>
          <a:xfrm>
            <a:off x="8297136" y="5782514"/>
            <a:ext cx="1581155" cy="65849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lIns="0" tIns="89608" rIns="0" bIns="89608" rtlCol="0" anchor="ctr">
            <a:noAutofit/>
          </a:bodyPr>
          <a:lstStyle>
            <a:defPPr>
              <a:defRPr lang="en-US"/>
            </a:defPPr>
            <a:lvl1pPr defTabSz="932597">
              <a:defRPr sz="1600">
                <a:solidFill>
                  <a:schemeClr val="bg2"/>
                </a:solidFill>
              </a:defRPr>
            </a:lvl1pPr>
          </a:lstStyle>
          <a:p>
            <a:pPr algn="ctr" defTabSz="776822">
              <a:defRPr/>
            </a:pPr>
            <a:r>
              <a:rPr lang="en-US" sz="1167" dirty="0">
                <a:latin typeface="Segoe UI" panose="020B0502040204020203" pitchFamily="34" charset="0"/>
                <a:cs typeface="Segoe UI" panose="020B0502040204020203" pitchFamily="34" charset="0"/>
              </a:rPr>
              <a:t>Presentation</a:t>
            </a:r>
          </a:p>
        </p:txBody>
      </p:sp>
      <p:cxnSp>
        <p:nvCxnSpPr>
          <p:cNvPr id="75" name="2   Arrow fg"/>
          <p:cNvCxnSpPr/>
          <p:nvPr/>
        </p:nvCxnSpPr>
        <p:spPr>
          <a:xfrm flipH="1">
            <a:off x="8148529" y="3708598"/>
            <a:ext cx="463843" cy="388"/>
          </a:xfrm>
          <a:prstGeom prst="straightConnector1">
            <a:avLst/>
          </a:prstGeom>
          <a:noFill/>
          <a:ln w="31750" cap="flat" cmpd="sng" algn="ctr">
            <a:solidFill>
              <a:schemeClr val="accent1"/>
            </a:solidFill>
            <a:prstDash val="solid"/>
            <a:headEnd type="stealth" w="lg" len="med"/>
            <a:tailEnd type="stealth" w="lg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9743895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/>
          <p:cNvSpPr/>
          <p:nvPr/>
        </p:nvSpPr>
        <p:spPr bwMode="auto">
          <a:xfrm>
            <a:off x="5347408" y="2133312"/>
            <a:ext cx="2073395" cy="1297069"/>
          </a:xfrm>
          <a:prstGeom prst="rect">
            <a:avLst/>
          </a:prstGeom>
          <a:solidFill>
            <a:sysClr val="window" lastClr="FFFFFF">
              <a:alpha val="90000"/>
            </a:sysClr>
          </a:solidFill>
          <a:ln w="19050" cap="flat" cmpd="sng" algn="ctr">
            <a:solidFill>
              <a:srgbClr val="8AB83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89608" rIns="0" bIns="8958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259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orage</a:t>
            </a:r>
          </a:p>
        </p:txBody>
      </p:sp>
      <p:sp>
        <p:nvSpPr>
          <p:cNvPr id="64" name="Rectangle 63"/>
          <p:cNvSpPr/>
          <p:nvPr/>
        </p:nvSpPr>
        <p:spPr bwMode="auto">
          <a:xfrm>
            <a:off x="5360918" y="758320"/>
            <a:ext cx="2029113" cy="904054"/>
          </a:xfrm>
          <a:prstGeom prst="rect">
            <a:avLst/>
          </a:prstGeom>
          <a:solidFill>
            <a:sysClr val="window" lastClr="FFFFFF">
              <a:alpha val="90000"/>
            </a:sysClr>
          </a:solidFill>
          <a:ln w="19050" cap="flat" cmpd="sng" algn="ctr">
            <a:solidFill>
              <a:srgbClr val="8AB833"/>
            </a:solidFill>
            <a:prstDash val="sysDash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89608" rIns="0" bIns="8958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259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eam Processors</a:t>
            </a:r>
          </a:p>
        </p:txBody>
      </p:sp>
      <p:sp>
        <p:nvSpPr>
          <p:cNvPr id="175" name="Rectangle 174"/>
          <p:cNvSpPr/>
          <p:nvPr/>
        </p:nvSpPr>
        <p:spPr bwMode="auto">
          <a:xfrm>
            <a:off x="8719655" y="1163174"/>
            <a:ext cx="948118" cy="4333163"/>
          </a:xfrm>
          <a:prstGeom prst="rect">
            <a:avLst/>
          </a:prstGeom>
          <a:solidFill>
            <a:sysClr val="window" lastClr="FFFFFF">
              <a:alpha val="90000"/>
            </a:sysClr>
          </a:solidFill>
          <a:ln w="19050" cap="flat" cmpd="sng" algn="ctr">
            <a:solidFill>
              <a:srgbClr val="8AB83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89608" rIns="0" bIns="8958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259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esentation </a:t>
            </a:r>
          </a:p>
        </p:txBody>
      </p:sp>
      <p:cxnSp>
        <p:nvCxnSpPr>
          <p:cNvPr id="108" name="2   Arrow fg"/>
          <p:cNvCxnSpPr/>
          <p:nvPr/>
        </p:nvCxnSpPr>
        <p:spPr>
          <a:xfrm flipH="1">
            <a:off x="7433374" y="2663540"/>
            <a:ext cx="1320912" cy="0"/>
          </a:xfrm>
          <a:prstGeom prst="straightConnector1">
            <a:avLst/>
          </a:prstGeom>
          <a:noFill/>
          <a:ln w="31750" cap="flat" cmpd="sng" algn="ctr">
            <a:solidFill>
              <a:schemeClr val="accent6"/>
            </a:solidFill>
            <a:prstDash val="solid"/>
            <a:headEnd type="stealth" w="lg" len="med"/>
            <a:tailEnd type="stealth" w="lg" len="med"/>
          </a:ln>
          <a:effectLst/>
        </p:spPr>
      </p:cxnSp>
      <p:sp>
        <p:nvSpPr>
          <p:cNvPr id="168" name="Title 1"/>
          <p:cNvSpPr txBox="1">
            <a:spLocks/>
          </p:cNvSpPr>
          <p:nvPr/>
        </p:nvSpPr>
        <p:spPr>
          <a:xfrm>
            <a:off x="224279" y="134487"/>
            <a:ext cx="10125498" cy="749428"/>
          </a:xfrm>
          <a:prstGeom prst="rect">
            <a:avLst/>
          </a:prstGeom>
        </p:spPr>
        <p:txBody>
          <a:bodyPr/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28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09728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/>
                <a:ea typeface="+mj-ea"/>
                <a:cs typeface="+mj-cs"/>
              </a:rPr>
              <a:t>Digital Signage Solution Architecture  – Data Flow</a:t>
            </a:r>
          </a:p>
        </p:txBody>
      </p:sp>
      <p:cxnSp>
        <p:nvCxnSpPr>
          <p:cNvPr id="179" name="2   Arrow fg"/>
          <p:cNvCxnSpPr/>
          <p:nvPr/>
        </p:nvCxnSpPr>
        <p:spPr>
          <a:xfrm flipH="1" flipV="1">
            <a:off x="7239051" y="3453432"/>
            <a:ext cx="7957" cy="955203"/>
          </a:xfrm>
          <a:prstGeom prst="straightConnector1">
            <a:avLst/>
          </a:prstGeom>
          <a:noFill/>
          <a:ln w="31750" cap="flat" cmpd="sng" algn="ctr">
            <a:solidFill>
              <a:schemeClr val="accent6"/>
            </a:solidFill>
            <a:prstDash val="solid"/>
            <a:headEnd type="stealth" w="lg" len="med"/>
            <a:tailEnd type="none" w="med" len="med"/>
          </a:ln>
          <a:effectLst/>
        </p:spPr>
      </p:cxnSp>
      <p:sp>
        <p:nvSpPr>
          <p:cNvPr id="80" name="Rectangle 79"/>
          <p:cNvSpPr/>
          <p:nvPr/>
        </p:nvSpPr>
        <p:spPr bwMode="auto">
          <a:xfrm>
            <a:off x="5046399" y="4425177"/>
            <a:ext cx="2542305" cy="1142554"/>
          </a:xfrm>
          <a:prstGeom prst="rect">
            <a:avLst/>
          </a:prstGeom>
          <a:solidFill>
            <a:sysClr val="window" lastClr="FFFFFF">
              <a:alpha val="90000"/>
            </a:sysClr>
          </a:solidFill>
          <a:ln w="19050" cap="flat" cmpd="sng" algn="ctr">
            <a:solidFill>
              <a:srgbClr val="8AB83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89608" rIns="0" bIns="8958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2591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pp Backend</a:t>
            </a:r>
          </a:p>
        </p:txBody>
      </p:sp>
      <p:sp>
        <p:nvSpPr>
          <p:cNvPr id="217" name="2 Device"/>
          <p:cNvSpPr txBox="1"/>
          <p:nvPr/>
        </p:nvSpPr>
        <p:spPr>
          <a:xfrm>
            <a:off x="2181614" y="5790369"/>
            <a:ext cx="2444505" cy="65849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lIns="0" tIns="89608" rIns="0" bIns="89608" rtlCol="0" anchor="ctr">
            <a:noAutofit/>
          </a:bodyPr>
          <a:lstStyle>
            <a:defPPr>
              <a:defRPr lang="en-US"/>
            </a:defPPr>
            <a:lvl1pPr defTabSz="932597">
              <a:defRPr sz="1600">
                <a:solidFill>
                  <a:schemeClr val="bg2"/>
                </a:solidFill>
              </a:defRPr>
            </a:lvl1pPr>
          </a:lstStyle>
          <a:p>
            <a:pPr marL="0" marR="0" lvl="0" indent="0" algn="ctr" defTabSz="7768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D2D2D2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vice Connectivity</a:t>
            </a:r>
          </a:p>
        </p:txBody>
      </p:sp>
      <p:sp>
        <p:nvSpPr>
          <p:cNvPr id="218" name="3"/>
          <p:cNvSpPr txBox="1"/>
          <p:nvPr/>
        </p:nvSpPr>
        <p:spPr>
          <a:xfrm>
            <a:off x="4996417" y="5790369"/>
            <a:ext cx="3155381" cy="65849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lIns="0" tIns="89608" rIns="0" bIns="89608" rtlCol="0" anchor="ctr">
            <a:noAutofit/>
          </a:bodyPr>
          <a:lstStyle>
            <a:defPPr>
              <a:defRPr lang="en-US"/>
            </a:defPPr>
            <a:lvl1pPr marR="0" lvl="0" indent="0" algn="ctr" defTabSz="93259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67" b="0" i="0" u="none" strike="noStrike" kern="1200" cap="none" spc="0" normalizeH="0" baseline="0" noProof="0" dirty="0">
                <a:ln>
                  <a:noFill/>
                </a:ln>
                <a:solidFill>
                  <a:srgbClr val="D2D2D2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ata Processing, Analytics &amp; Management</a:t>
            </a:r>
          </a:p>
        </p:txBody>
      </p:sp>
      <p:grpSp>
        <p:nvGrpSpPr>
          <p:cNvPr id="222" name="Group 221"/>
          <p:cNvGrpSpPr/>
          <p:nvPr/>
        </p:nvGrpSpPr>
        <p:grpSpPr>
          <a:xfrm>
            <a:off x="3810356" y="1899641"/>
            <a:ext cx="815764" cy="2823789"/>
            <a:chOff x="4574212" y="2277901"/>
            <a:chExt cx="979299" cy="3389871"/>
          </a:xfrm>
        </p:grpSpPr>
        <p:sp>
          <p:nvSpPr>
            <p:cNvPr id="47" name="Rectangle 46"/>
            <p:cNvSpPr/>
            <p:nvPr/>
          </p:nvSpPr>
          <p:spPr bwMode="auto">
            <a:xfrm>
              <a:off x="4574212" y="2277901"/>
              <a:ext cx="979299" cy="3389871"/>
            </a:xfrm>
            <a:prstGeom prst="rect">
              <a:avLst/>
            </a:prstGeom>
            <a:solidFill>
              <a:sysClr val="window" lastClr="FFFFFF">
                <a:alpha val="90000"/>
              </a:sysClr>
            </a:solidFill>
            <a:ln w="19050" cap="flat" cmpd="sng" algn="ctr">
              <a:solidFill>
                <a:srgbClr val="8AB833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89608" rIns="0" bIns="8958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2591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endParaRPr kumimoji="0" lang="en-GB" sz="10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4703693" y="3278289"/>
              <a:ext cx="755187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114379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292929">
                          <a:lumMod val="90000"/>
                          <a:lumOff val="10000"/>
                        </a:srgbClr>
                      </a:gs>
                      <a:gs pos="86000">
                        <a:srgbClr val="292929">
                          <a:lumMod val="90000"/>
                          <a:lumOff val="10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IoT Hub</a:t>
              </a: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pic>
          <p:nvPicPr>
            <p:cNvPr id="220" name="Picture 21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816333" y="2634299"/>
              <a:ext cx="495056" cy="496360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5672636" y="1010826"/>
            <a:ext cx="1290792" cy="452242"/>
            <a:chOff x="6779057" y="3590859"/>
            <a:chExt cx="1046229" cy="1002897"/>
          </a:xfrm>
        </p:grpSpPr>
        <p:sp>
          <p:nvSpPr>
            <p:cNvPr id="66" name="TextBox 65"/>
            <p:cNvSpPr txBox="1"/>
            <p:nvPr/>
          </p:nvSpPr>
          <p:spPr>
            <a:xfrm>
              <a:off x="6779057" y="4394239"/>
              <a:ext cx="1046229" cy="1995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2591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292929">
                          <a:lumMod val="90000"/>
                          <a:lumOff val="10000"/>
                        </a:srgbClr>
                      </a:gs>
                      <a:gs pos="86000">
                        <a:srgbClr val="292929">
                          <a:lumMod val="90000"/>
                          <a:lumOff val="10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tream Analytics</a:t>
              </a: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pic>
          <p:nvPicPr>
            <p:cNvPr id="124" name="Picture 12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30396" y="3590859"/>
              <a:ext cx="651573" cy="803376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8834021" y="3199096"/>
            <a:ext cx="731185" cy="504177"/>
            <a:chOff x="10537712" y="2988792"/>
            <a:chExt cx="877765" cy="605249"/>
          </a:xfrm>
        </p:grpSpPr>
        <p:sp>
          <p:nvSpPr>
            <p:cNvPr id="89" name="TextBox 88"/>
            <p:cNvSpPr txBox="1"/>
            <p:nvPr/>
          </p:nvSpPr>
          <p:spPr>
            <a:xfrm>
              <a:off x="10537712" y="3427842"/>
              <a:ext cx="877765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2591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292929">
                          <a:lumMod val="90000"/>
                          <a:lumOff val="10000"/>
                        </a:srgbClr>
                      </a:gs>
                      <a:gs pos="86000">
                        <a:srgbClr val="292929">
                          <a:lumMod val="90000"/>
                          <a:lumOff val="10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Web App</a:t>
              </a: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pic>
          <p:nvPicPr>
            <p:cNvPr id="126" name="Picture 12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801938" y="2988792"/>
              <a:ext cx="348370" cy="347472"/>
            </a:xfrm>
            <a:prstGeom prst="rect">
              <a:avLst/>
            </a:prstGeom>
          </p:spPr>
        </p:pic>
      </p:grpSp>
      <p:grpSp>
        <p:nvGrpSpPr>
          <p:cNvPr id="25" name="Group 24"/>
          <p:cNvGrpSpPr/>
          <p:nvPr/>
        </p:nvGrpSpPr>
        <p:grpSpPr>
          <a:xfrm>
            <a:off x="6356541" y="4696964"/>
            <a:ext cx="1063786" cy="683480"/>
            <a:chOff x="9321097" y="1752820"/>
            <a:chExt cx="963391" cy="560009"/>
          </a:xfrm>
        </p:grpSpPr>
        <p:sp>
          <p:nvSpPr>
            <p:cNvPr id="134" name="TextBox 133"/>
            <p:cNvSpPr txBox="1"/>
            <p:nvPr/>
          </p:nvSpPr>
          <p:spPr>
            <a:xfrm>
              <a:off x="9402708" y="2199393"/>
              <a:ext cx="881780" cy="1134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2591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292929">
                          <a:lumMod val="90000"/>
                          <a:lumOff val="10000"/>
                        </a:srgbClr>
                      </a:gs>
                      <a:gs pos="86000">
                        <a:srgbClr val="292929">
                          <a:lumMod val="90000"/>
                          <a:lumOff val="10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Web Jobs</a:t>
              </a: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9321097" y="1752820"/>
              <a:ext cx="776246" cy="365748"/>
              <a:chOff x="9321097" y="1770181"/>
              <a:chExt cx="776246" cy="365748"/>
            </a:xfrm>
          </p:grpSpPr>
          <p:pic>
            <p:nvPicPr>
              <p:cNvPr id="137" name="Picture 136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627145" y="1770181"/>
                <a:ext cx="470198" cy="309566"/>
              </a:xfrm>
              <a:prstGeom prst="rect">
                <a:avLst/>
              </a:prstGeom>
            </p:spPr>
          </p:pic>
          <p:sp>
            <p:nvSpPr>
              <p:cNvPr id="138" name="Freeform 32"/>
              <p:cNvSpPr>
                <a:spLocks/>
              </p:cNvSpPr>
              <p:nvPr/>
            </p:nvSpPr>
            <p:spPr bwMode="auto">
              <a:xfrm>
                <a:off x="9349518" y="2052161"/>
                <a:ext cx="26925" cy="37396"/>
              </a:xfrm>
              <a:custGeom>
                <a:avLst/>
                <a:gdLst>
                  <a:gd name="T0" fmla="*/ 54 w 137"/>
                  <a:gd name="T1" fmla="*/ 79 h 195"/>
                  <a:gd name="T2" fmla="*/ 42 w 137"/>
                  <a:gd name="T3" fmla="*/ 75 h 195"/>
                  <a:gd name="T4" fmla="*/ 42 w 137"/>
                  <a:gd name="T5" fmla="*/ 21 h 195"/>
                  <a:gd name="T6" fmla="*/ 21 w 137"/>
                  <a:gd name="T7" fmla="*/ 0 h 195"/>
                  <a:gd name="T8" fmla="*/ 0 w 137"/>
                  <a:gd name="T9" fmla="*/ 21 h 195"/>
                  <a:gd name="T10" fmla="*/ 0 w 137"/>
                  <a:gd name="T11" fmla="*/ 100 h 195"/>
                  <a:gd name="T12" fmla="*/ 4 w 137"/>
                  <a:gd name="T13" fmla="*/ 104 h 195"/>
                  <a:gd name="T14" fmla="*/ 13 w 137"/>
                  <a:gd name="T15" fmla="*/ 116 h 195"/>
                  <a:gd name="T16" fmla="*/ 92 w 137"/>
                  <a:gd name="T17" fmla="*/ 187 h 195"/>
                  <a:gd name="T18" fmla="*/ 125 w 137"/>
                  <a:gd name="T19" fmla="*/ 187 h 195"/>
                  <a:gd name="T20" fmla="*/ 129 w 137"/>
                  <a:gd name="T21" fmla="*/ 183 h 195"/>
                  <a:gd name="T22" fmla="*/ 129 w 137"/>
                  <a:gd name="T23" fmla="*/ 150 h 195"/>
                  <a:gd name="T24" fmla="*/ 54 w 137"/>
                  <a:gd name="T25" fmla="*/ 79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7" h="195">
                    <a:moveTo>
                      <a:pt x="54" y="79"/>
                    </a:moveTo>
                    <a:cubicBezTo>
                      <a:pt x="50" y="75"/>
                      <a:pt x="46" y="75"/>
                      <a:pt x="42" y="75"/>
                    </a:cubicBezTo>
                    <a:lnTo>
                      <a:pt x="42" y="21"/>
                    </a:lnTo>
                    <a:cubicBezTo>
                      <a:pt x="42" y="13"/>
                      <a:pt x="34" y="5"/>
                      <a:pt x="21" y="0"/>
                    </a:cubicBezTo>
                    <a:cubicBezTo>
                      <a:pt x="9" y="0"/>
                      <a:pt x="0" y="9"/>
                      <a:pt x="0" y="21"/>
                    </a:cubicBezTo>
                    <a:lnTo>
                      <a:pt x="0" y="100"/>
                    </a:lnTo>
                    <a:cubicBezTo>
                      <a:pt x="0" y="104"/>
                      <a:pt x="0" y="104"/>
                      <a:pt x="4" y="104"/>
                    </a:cubicBezTo>
                    <a:cubicBezTo>
                      <a:pt x="4" y="108"/>
                      <a:pt x="9" y="112"/>
                      <a:pt x="13" y="116"/>
                    </a:cubicBezTo>
                    <a:lnTo>
                      <a:pt x="92" y="187"/>
                    </a:lnTo>
                    <a:cubicBezTo>
                      <a:pt x="100" y="195"/>
                      <a:pt x="116" y="195"/>
                      <a:pt x="125" y="187"/>
                    </a:cubicBezTo>
                    <a:lnTo>
                      <a:pt x="129" y="183"/>
                    </a:lnTo>
                    <a:cubicBezTo>
                      <a:pt x="137" y="174"/>
                      <a:pt x="137" y="158"/>
                      <a:pt x="129" y="150"/>
                    </a:cubicBezTo>
                    <a:lnTo>
                      <a:pt x="54" y="79"/>
                    </a:lnTo>
                    <a:close/>
                  </a:path>
                </a:pathLst>
              </a:custGeom>
              <a:solidFill>
                <a:srgbClr val="006FD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6170" tIns="38085" rIns="76170" bIns="3808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1437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99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39" name="Oval 33"/>
              <p:cNvSpPr>
                <a:spLocks noChangeArrowheads="1"/>
              </p:cNvSpPr>
              <p:nvPr/>
            </p:nvSpPr>
            <p:spPr bwMode="auto">
              <a:xfrm>
                <a:off x="9321097" y="2068616"/>
                <a:ext cx="2992" cy="2992"/>
              </a:xfrm>
              <a:prstGeom prst="ellipse">
                <a:avLst/>
              </a:prstGeom>
              <a:solidFill>
                <a:srgbClr val="006FD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6170" tIns="38085" rIns="76170" bIns="3808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1437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99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40" name="Oval 34"/>
              <p:cNvSpPr>
                <a:spLocks noChangeArrowheads="1"/>
              </p:cNvSpPr>
              <p:nvPr/>
            </p:nvSpPr>
            <p:spPr bwMode="auto">
              <a:xfrm>
                <a:off x="9351014" y="2038698"/>
                <a:ext cx="2992" cy="2992"/>
              </a:xfrm>
              <a:prstGeom prst="ellipse">
                <a:avLst/>
              </a:prstGeom>
              <a:solidFill>
                <a:srgbClr val="006FD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6170" tIns="38085" rIns="76170" bIns="3808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1437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99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41" name="Oval 35"/>
              <p:cNvSpPr>
                <a:spLocks noChangeArrowheads="1"/>
              </p:cNvSpPr>
              <p:nvPr/>
            </p:nvSpPr>
            <p:spPr bwMode="auto">
              <a:xfrm>
                <a:off x="9385418" y="2067120"/>
                <a:ext cx="2992" cy="2992"/>
              </a:xfrm>
              <a:prstGeom prst="ellipse">
                <a:avLst/>
              </a:prstGeom>
              <a:solidFill>
                <a:srgbClr val="006FD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6170" tIns="38085" rIns="76170" bIns="3808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1437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99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42" name="Oval 36"/>
              <p:cNvSpPr>
                <a:spLocks noChangeArrowheads="1"/>
              </p:cNvSpPr>
              <p:nvPr/>
            </p:nvSpPr>
            <p:spPr bwMode="auto">
              <a:xfrm>
                <a:off x="9349518" y="2101524"/>
                <a:ext cx="2992" cy="2992"/>
              </a:xfrm>
              <a:prstGeom prst="ellipse">
                <a:avLst/>
              </a:prstGeom>
              <a:solidFill>
                <a:srgbClr val="006FD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6170" tIns="38085" rIns="76170" bIns="3808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1437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99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43" name="Freeform 37"/>
              <p:cNvSpPr>
                <a:spLocks noEditPoints="1"/>
              </p:cNvSpPr>
              <p:nvPr/>
            </p:nvSpPr>
            <p:spPr bwMode="auto">
              <a:xfrm>
                <a:off x="9769830" y="2008781"/>
                <a:ext cx="128644" cy="127148"/>
              </a:xfrm>
              <a:custGeom>
                <a:avLst/>
                <a:gdLst>
                  <a:gd name="T0" fmla="*/ 588 w 659"/>
                  <a:gd name="T1" fmla="*/ 294 h 658"/>
                  <a:gd name="T2" fmla="*/ 634 w 659"/>
                  <a:gd name="T3" fmla="*/ 194 h 658"/>
                  <a:gd name="T4" fmla="*/ 547 w 659"/>
                  <a:gd name="T5" fmla="*/ 174 h 658"/>
                  <a:gd name="T6" fmla="*/ 543 w 659"/>
                  <a:gd name="T7" fmla="*/ 169 h 658"/>
                  <a:gd name="T8" fmla="*/ 563 w 659"/>
                  <a:gd name="T9" fmla="*/ 91 h 658"/>
                  <a:gd name="T10" fmla="*/ 472 w 659"/>
                  <a:gd name="T11" fmla="*/ 103 h 658"/>
                  <a:gd name="T12" fmla="*/ 439 w 659"/>
                  <a:gd name="T13" fmla="*/ 16 h 658"/>
                  <a:gd name="T14" fmla="*/ 377 w 659"/>
                  <a:gd name="T15" fmla="*/ 0 h 658"/>
                  <a:gd name="T16" fmla="*/ 327 w 659"/>
                  <a:gd name="T17" fmla="*/ 66 h 658"/>
                  <a:gd name="T18" fmla="*/ 269 w 659"/>
                  <a:gd name="T19" fmla="*/ 4 h 658"/>
                  <a:gd name="T20" fmla="*/ 207 w 659"/>
                  <a:gd name="T21" fmla="*/ 20 h 658"/>
                  <a:gd name="T22" fmla="*/ 178 w 659"/>
                  <a:gd name="T23" fmla="*/ 111 h 658"/>
                  <a:gd name="T24" fmla="*/ 87 w 659"/>
                  <a:gd name="T25" fmla="*/ 103 h 658"/>
                  <a:gd name="T26" fmla="*/ 91 w 659"/>
                  <a:gd name="T27" fmla="*/ 157 h 658"/>
                  <a:gd name="T28" fmla="*/ 91 w 659"/>
                  <a:gd name="T29" fmla="*/ 215 h 658"/>
                  <a:gd name="T30" fmla="*/ 0 w 659"/>
                  <a:gd name="T31" fmla="*/ 277 h 658"/>
                  <a:gd name="T32" fmla="*/ 66 w 659"/>
                  <a:gd name="T33" fmla="*/ 331 h 658"/>
                  <a:gd name="T34" fmla="*/ 4 w 659"/>
                  <a:gd name="T35" fmla="*/ 389 h 658"/>
                  <a:gd name="T36" fmla="*/ 91 w 659"/>
                  <a:gd name="T37" fmla="*/ 451 h 658"/>
                  <a:gd name="T38" fmla="*/ 74 w 659"/>
                  <a:gd name="T39" fmla="*/ 547 h 658"/>
                  <a:gd name="T40" fmla="*/ 120 w 659"/>
                  <a:gd name="T41" fmla="*/ 588 h 658"/>
                  <a:gd name="T42" fmla="*/ 182 w 659"/>
                  <a:gd name="T43" fmla="*/ 551 h 658"/>
                  <a:gd name="T44" fmla="*/ 215 w 659"/>
                  <a:gd name="T45" fmla="*/ 642 h 658"/>
                  <a:gd name="T46" fmla="*/ 311 w 659"/>
                  <a:gd name="T47" fmla="*/ 596 h 658"/>
                  <a:gd name="T48" fmla="*/ 352 w 659"/>
                  <a:gd name="T49" fmla="*/ 596 h 658"/>
                  <a:gd name="T50" fmla="*/ 389 w 659"/>
                  <a:gd name="T51" fmla="*/ 658 h 658"/>
                  <a:gd name="T52" fmla="*/ 452 w 659"/>
                  <a:gd name="T53" fmla="*/ 642 h 658"/>
                  <a:gd name="T54" fmla="*/ 481 w 659"/>
                  <a:gd name="T55" fmla="*/ 555 h 658"/>
                  <a:gd name="T56" fmla="*/ 485 w 659"/>
                  <a:gd name="T57" fmla="*/ 555 h 658"/>
                  <a:gd name="T58" fmla="*/ 568 w 659"/>
                  <a:gd name="T59" fmla="*/ 571 h 658"/>
                  <a:gd name="T60" fmla="*/ 555 w 659"/>
                  <a:gd name="T61" fmla="*/ 484 h 658"/>
                  <a:gd name="T62" fmla="*/ 555 w 659"/>
                  <a:gd name="T63" fmla="*/ 480 h 658"/>
                  <a:gd name="T64" fmla="*/ 642 w 659"/>
                  <a:gd name="T65" fmla="*/ 451 h 658"/>
                  <a:gd name="T66" fmla="*/ 659 w 659"/>
                  <a:gd name="T67" fmla="*/ 389 h 658"/>
                  <a:gd name="T68" fmla="*/ 588 w 659"/>
                  <a:gd name="T69" fmla="*/ 315 h 658"/>
                  <a:gd name="T70" fmla="*/ 331 w 659"/>
                  <a:gd name="T71" fmla="*/ 522 h 658"/>
                  <a:gd name="T72" fmla="*/ 128 w 659"/>
                  <a:gd name="T73" fmla="*/ 323 h 658"/>
                  <a:gd name="T74" fmla="*/ 327 w 659"/>
                  <a:gd name="T75" fmla="*/ 120 h 658"/>
                  <a:gd name="T76" fmla="*/ 530 w 659"/>
                  <a:gd name="T77" fmla="*/ 319 h 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659" h="658">
                    <a:moveTo>
                      <a:pt x="588" y="315"/>
                    </a:moveTo>
                    <a:cubicBezTo>
                      <a:pt x="588" y="306"/>
                      <a:pt x="588" y="302"/>
                      <a:pt x="588" y="294"/>
                    </a:cubicBezTo>
                    <a:lnTo>
                      <a:pt x="650" y="257"/>
                    </a:lnTo>
                    <a:cubicBezTo>
                      <a:pt x="646" y="236"/>
                      <a:pt x="642" y="215"/>
                      <a:pt x="634" y="194"/>
                    </a:cubicBezTo>
                    <a:lnTo>
                      <a:pt x="563" y="199"/>
                    </a:lnTo>
                    <a:cubicBezTo>
                      <a:pt x="559" y="190"/>
                      <a:pt x="555" y="182"/>
                      <a:pt x="547" y="174"/>
                    </a:cubicBezTo>
                    <a:cubicBezTo>
                      <a:pt x="547" y="174"/>
                      <a:pt x="543" y="169"/>
                      <a:pt x="543" y="169"/>
                    </a:cubicBezTo>
                    <a:cubicBezTo>
                      <a:pt x="543" y="169"/>
                      <a:pt x="543" y="169"/>
                      <a:pt x="543" y="169"/>
                    </a:cubicBezTo>
                    <a:lnTo>
                      <a:pt x="580" y="107"/>
                    </a:lnTo>
                    <a:cubicBezTo>
                      <a:pt x="576" y="103"/>
                      <a:pt x="568" y="95"/>
                      <a:pt x="563" y="91"/>
                    </a:cubicBezTo>
                    <a:cubicBezTo>
                      <a:pt x="555" y="82"/>
                      <a:pt x="543" y="74"/>
                      <a:pt x="534" y="66"/>
                    </a:cubicBezTo>
                    <a:lnTo>
                      <a:pt x="472" y="103"/>
                    </a:lnTo>
                    <a:cubicBezTo>
                      <a:pt x="460" y="95"/>
                      <a:pt x="452" y="91"/>
                      <a:pt x="439" y="87"/>
                    </a:cubicBezTo>
                    <a:lnTo>
                      <a:pt x="439" y="16"/>
                    </a:lnTo>
                    <a:cubicBezTo>
                      <a:pt x="439" y="16"/>
                      <a:pt x="439" y="16"/>
                      <a:pt x="439" y="16"/>
                    </a:cubicBezTo>
                    <a:cubicBezTo>
                      <a:pt x="418" y="8"/>
                      <a:pt x="398" y="4"/>
                      <a:pt x="377" y="0"/>
                    </a:cubicBezTo>
                    <a:lnTo>
                      <a:pt x="344" y="66"/>
                    </a:lnTo>
                    <a:cubicBezTo>
                      <a:pt x="340" y="66"/>
                      <a:pt x="331" y="66"/>
                      <a:pt x="327" y="66"/>
                    </a:cubicBezTo>
                    <a:cubicBezTo>
                      <a:pt x="319" y="66"/>
                      <a:pt x="315" y="66"/>
                      <a:pt x="306" y="66"/>
                    </a:cubicBezTo>
                    <a:lnTo>
                      <a:pt x="269" y="4"/>
                    </a:lnTo>
                    <a:cubicBezTo>
                      <a:pt x="248" y="8"/>
                      <a:pt x="228" y="12"/>
                      <a:pt x="207" y="20"/>
                    </a:cubicBezTo>
                    <a:cubicBezTo>
                      <a:pt x="207" y="20"/>
                      <a:pt x="207" y="20"/>
                      <a:pt x="207" y="20"/>
                    </a:cubicBezTo>
                    <a:lnTo>
                      <a:pt x="211" y="91"/>
                    </a:lnTo>
                    <a:cubicBezTo>
                      <a:pt x="199" y="95"/>
                      <a:pt x="190" y="103"/>
                      <a:pt x="178" y="111"/>
                    </a:cubicBezTo>
                    <a:lnTo>
                      <a:pt x="116" y="74"/>
                    </a:lnTo>
                    <a:cubicBezTo>
                      <a:pt x="108" y="82"/>
                      <a:pt x="95" y="91"/>
                      <a:pt x="87" y="103"/>
                    </a:cubicBezTo>
                    <a:cubicBezTo>
                      <a:pt x="83" y="107"/>
                      <a:pt x="74" y="116"/>
                      <a:pt x="70" y="120"/>
                    </a:cubicBezTo>
                    <a:lnTo>
                      <a:pt x="91" y="157"/>
                    </a:lnTo>
                    <a:lnTo>
                      <a:pt x="108" y="182"/>
                    </a:lnTo>
                    <a:cubicBezTo>
                      <a:pt x="99" y="194"/>
                      <a:pt x="95" y="203"/>
                      <a:pt x="91" y="215"/>
                    </a:cubicBezTo>
                    <a:lnTo>
                      <a:pt x="16" y="215"/>
                    </a:lnTo>
                    <a:cubicBezTo>
                      <a:pt x="8" y="236"/>
                      <a:pt x="4" y="257"/>
                      <a:pt x="0" y="277"/>
                    </a:cubicBezTo>
                    <a:lnTo>
                      <a:pt x="66" y="310"/>
                    </a:lnTo>
                    <a:cubicBezTo>
                      <a:pt x="66" y="319"/>
                      <a:pt x="66" y="323"/>
                      <a:pt x="66" y="331"/>
                    </a:cubicBezTo>
                    <a:cubicBezTo>
                      <a:pt x="66" y="339"/>
                      <a:pt x="66" y="344"/>
                      <a:pt x="66" y="352"/>
                    </a:cubicBezTo>
                    <a:lnTo>
                      <a:pt x="4" y="389"/>
                    </a:lnTo>
                    <a:cubicBezTo>
                      <a:pt x="8" y="410"/>
                      <a:pt x="12" y="431"/>
                      <a:pt x="21" y="451"/>
                    </a:cubicBezTo>
                    <a:lnTo>
                      <a:pt x="91" y="451"/>
                    </a:lnTo>
                    <a:cubicBezTo>
                      <a:pt x="95" y="464"/>
                      <a:pt x="103" y="472"/>
                      <a:pt x="112" y="484"/>
                    </a:cubicBezTo>
                    <a:lnTo>
                      <a:pt x="74" y="547"/>
                    </a:lnTo>
                    <a:cubicBezTo>
                      <a:pt x="87" y="559"/>
                      <a:pt x="95" y="571"/>
                      <a:pt x="108" y="580"/>
                    </a:cubicBezTo>
                    <a:cubicBezTo>
                      <a:pt x="112" y="584"/>
                      <a:pt x="116" y="584"/>
                      <a:pt x="120" y="588"/>
                    </a:cubicBezTo>
                    <a:lnTo>
                      <a:pt x="157" y="567"/>
                    </a:lnTo>
                    <a:lnTo>
                      <a:pt x="182" y="551"/>
                    </a:lnTo>
                    <a:cubicBezTo>
                      <a:pt x="195" y="559"/>
                      <a:pt x="203" y="563"/>
                      <a:pt x="215" y="567"/>
                    </a:cubicBezTo>
                    <a:lnTo>
                      <a:pt x="215" y="642"/>
                    </a:lnTo>
                    <a:cubicBezTo>
                      <a:pt x="236" y="650"/>
                      <a:pt x="257" y="654"/>
                      <a:pt x="277" y="658"/>
                    </a:cubicBezTo>
                    <a:lnTo>
                      <a:pt x="311" y="596"/>
                    </a:lnTo>
                    <a:cubicBezTo>
                      <a:pt x="319" y="596"/>
                      <a:pt x="323" y="596"/>
                      <a:pt x="331" y="596"/>
                    </a:cubicBezTo>
                    <a:cubicBezTo>
                      <a:pt x="340" y="596"/>
                      <a:pt x="344" y="596"/>
                      <a:pt x="352" y="596"/>
                    </a:cubicBezTo>
                    <a:lnTo>
                      <a:pt x="369" y="621"/>
                    </a:lnTo>
                    <a:lnTo>
                      <a:pt x="389" y="658"/>
                    </a:lnTo>
                    <a:cubicBezTo>
                      <a:pt x="410" y="654"/>
                      <a:pt x="431" y="650"/>
                      <a:pt x="452" y="642"/>
                    </a:cubicBezTo>
                    <a:cubicBezTo>
                      <a:pt x="452" y="642"/>
                      <a:pt x="452" y="642"/>
                      <a:pt x="452" y="642"/>
                    </a:cubicBezTo>
                    <a:lnTo>
                      <a:pt x="452" y="571"/>
                    </a:lnTo>
                    <a:cubicBezTo>
                      <a:pt x="460" y="567"/>
                      <a:pt x="472" y="563"/>
                      <a:pt x="481" y="555"/>
                    </a:cubicBezTo>
                    <a:cubicBezTo>
                      <a:pt x="481" y="555"/>
                      <a:pt x="481" y="555"/>
                      <a:pt x="481" y="555"/>
                    </a:cubicBezTo>
                    <a:cubicBezTo>
                      <a:pt x="481" y="555"/>
                      <a:pt x="481" y="555"/>
                      <a:pt x="485" y="555"/>
                    </a:cubicBezTo>
                    <a:lnTo>
                      <a:pt x="547" y="592"/>
                    </a:lnTo>
                    <a:cubicBezTo>
                      <a:pt x="555" y="588"/>
                      <a:pt x="559" y="580"/>
                      <a:pt x="568" y="571"/>
                    </a:cubicBezTo>
                    <a:cubicBezTo>
                      <a:pt x="576" y="563"/>
                      <a:pt x="584" y="555"/>
                      <a:pt x="592" y="547"/>
                    </a:cubicBezTo>
                    <a:lnTo>
                      <a:pt x="555" y="484"/>
                    </a:lnTo>
                    <a:cubicBezTo>
                      <a:pt x="555" y="484"/>
                      <a:pt x="555" y="484"/>
                      <a:pt x="555" y="480"/>
                    </a:cubicBezTo>
                    <a:cubicBezTo>
                      <a:pt x="555" y="480"/>
                      <a:pt x="555" y="480"/>
                      <a:pt x="555" y="480"/>
                    </a:cubicBezTo>
                    <a:cubicBezTo>
                      <a:pt x="559" y="472"/>
                      <a:pt x="568" y="460"/>
                      <a:pt x="572" y="451"/>
                    </a:cubicBezTo>
                    <a:lnTo>
                      <a:pt x="642" y="451"/>
                    </a:lnTo>
                    <a:cubicBezTo>
                      <a:pt x="642" y="451"/>
                      <a:pt x="642" y="451"/>
                      <a:pt x="642" y="451"/>
                    </a:cubicBezTo>
                    <a:cubicBezTo>
                      <a:pt x="650" y="431"/>
                      <a:pt x="655" y="410"/>
                      <a:pt x="659" y="389"/>
                    </a:cubicBezTo>
                    <a:lnTo>
                      <a:pt x="592" y="356"/>
                    </a:lnTo>
                    <a:cubicBezTo>
                      <a:pt x="588" y="327"/>
                      <a:pt x="588" y="323"/>
                      <a:pt x="588" y="315"/>
                    </a:cubicBezTo>
                    <a:close/>
                    <a:moveTo>
                      <a:pt x="365" y="518"/>
                    </a:moveTo>
                    <a:cubicBezTo>
                      <a:pt x="352" y="522"/>
                      <a:pt x="344" y="522"/>
                      <a:pt x="331" y="522"/>
                    </a:cubicBezTo>
                    <a:cubicBezTo>
                      <a:pt x="286" y="522"/>
                      <a:pt x="240" y="509"/>
                      <a:pt x="207" y="480"/>
                    </a:cubicBezTo>
                    <a:cubicBezTo>
                      <a:pt x="157" y="443"/>
                      <a:pt x="128" y="385"/>
                      <a:pt x="128" y="323"/>
                    </a:cubicBezTo>
                    <a:cubicBezTo>
                      <a:pt x="128" y="277"/>
                      <a:pt x="145" y="232"/>
                      <a:pt x="170" y="199"/>
                    </a:cubicBezTo>
                    <a:cubicBezTo>
                      <a:pt x="207" y="149"/>
                      <a:pt x="261" y="120"/>
                      <a:pt x="327" y="120"/>
                    </a:cubicBezTo>
                    <a:cubicBezTo>
                      <a:pt x="402" y="120"/>
                      <a:pt x="464" y="157"/>
                      <a:pt x="501" y="215"/>
                    </a:cubicBezTo>
                    <a:cubicBezTo>
                      <a:pt x="522" y="244"/>
                      <a:pt x="530" y="281"/>
                      <a:pt x="530" y="319"/>
                    </a:cubicBezTo>
                    <a:cubicBezTo>
                      <a:pt x="530" y="414"/>
                      <a:pt x="460" y="497"/>
                      <a:pt x="365" y="518"/>
                    </a:cubicBezTo>
                    <a:close/>
                  </a:path>
                </a:pathLst>
              </a:custGeom>
              <a:solidFill>
                <a:srgbClr val="006FD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6170" tIns="38085" rIns="76170" bIns="3808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1437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99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44" name="Freeform 38"/>
              <p:cNvSpPr>
                <a:spLocks noEditPoints="1"/>
              </p:cNvSpPr>
              <p:nvPr/>
            </p:nvSpPr>
            <p:spPr bwMode="auto">
              <a:xfrm>
                <a:off x="9864858" y="2005790"/>
                <a:ext cx="85264" cy="85264"/>
              </a:xfrm>
              <a:custGeom>
                <a:avLst/>
                <a:gdLst>
                  <a:gd name="T0" fmla="*/ 431 w 435"/>
                  <a:gd name="T1" fmla="*/ 245 h 435"/>
                  <a:gd name="T2" fmla="*/ 385 w 435"/>
                  <a:gd name="T3" fmla="*/ 216 h 435"/>
                  <a:gd name="T4" fmla="*/ 381 w 435"/>
                  <a:gd name="T5" fmla="*/ 178 h 435"/>
                  <a:gd name="T6" fmla="*/ 423 w 435"/>
                  <a:gd name="T7" fmla="*/ 129 h 435"/>
                  <a:gd name="T8" fmla="*/ 398 w 435"/>
                  <a:gd name="T9" fmla="*/ 83 h 435"/>
                  <a:gd name="T10" fmla="*/ 390 w 435"/>
                  <a:gd name="T11" fmla="*/ 83 h 435"/>
                  <a:gd name="T12" fmla="*/ 336 w 435"/>
                  <a:gd name="T13" fmla="*/ 95 h 435"/>
                  <a:gd name="T14" fmla="*/ 307 w 435"/>
                  <a:gd name="T15" fmla="*/ 75 h 435"/>
                  <a:gd name="T16" fmla="*/ 303 w 435"/>
                  <a:gd name="T17" fmla="*/ 13 h 435"/>
                  <a:gd name="T18" fmla="*/ 253 w 435"/>
                  <a:gd name="T19" fmla="*/ 0 h 435"/>
                  <a:gd name="T20" fmla="*/ 249 w 435"/>
                  <a:gd name="T21" fmla="*/ 8 h 435"/>
                  <a:gd name="T22" fmla="*/ 220 w 435"/>
                  <a:gd name="T23" fmla="*/ 54 h 435"/>
                  <a:gd name="T24" fmla="*/ 182 w 435"/>
                  <a:gd name="T25" fmla="*/ 58 h 435"/>
                  <a:gd name="T26" fmla="*/ 133 w 435"/>
                  <a:gd name="T27" fmla="*/ 17 h 435"/>
                  <a:gd name="T28" fmla="*/ 91 w 435"/>
                  <a:gd name="T29" fmla="*/ 42 h 435"/>
                  <a:gd name="T30" fmla="*/ 91 w 435"/>
                  <a:gd name="T31" fmla="*/ 50 h 435"/>
                  <a:gd name="T32" fmla="*/ 104 w 435"/>
                  <a:gd name="T33" fmla="*/ 104 h 435"/>
                  <a:gd name="T34" fmla="*/ 83 w 435"/>
                  <a:gd name="T35" fmla="*/ 133 h 435"/>
                  <a:gd name="T36" fmla="*/ 21 w 435"/>
                  <a:gd name="T37" fmla="*/ 137 h 435"/>
                  <a:gd name="T38" fmla="*/ 0 w 435"/>
                  <a:gd name="T39" fmla="*/ 187 h 435"/>
                  <a:gd name="T40" fmla="*/ 8 w 435"/>
                  <a:gd name="T41" fmla="*/ 191 h 435"/>
                  <a:gd name="T42" fmla="*/ 54 w 435"/>
                  <a:gd name="T43" fmla="*/ 220 h 435"/>
                  <a:gd name="T44" fmla="*/ 58 w 435"/>
                  <a:gd name="T45" fmla="*/ 257 h 435"/>
                  <a:gd name="T46" fmla="*/ 21 w 435"/>
                  <a:gd name="T47" fmla="*/ 303 h 435"/>
                  <a:gd name="T48" fmla="*/ 29 w 435"/>
                  <a:gd name="T49" fmla="*/ 328 h 435"/>
                  <a:gd name="T50" fmla="*/ 41 w 435"/>
                  <a:gd name="T51" fmla="*/ 352 h 435"/>
                  <a:gd name="T52" fmla="*/ 50 w 435"/>
                  <a:gd name="T53" fmla="*/ 352 h 435"/>
                  <a:gd name="T54" fmla="*/ 104 w 435"/>
                  <a:gd name="T55" fmla="*/ 340 h 435"/>
                  <a:gd name="T56" fmla="*/ 133 w 435"/>
                  <a:gd name="T57" fmla="*/ 361 h 435"/>
                  <a:gd name="T58" fmla="*/ 137 w 435"/>
                  <a:gd name="T59" fmla="*/ 423 h 435"/>
                  <a:gd name="T60" fmla="*/ 186 w 435"/>
                  <a:gd name="T61" fmla="*/ 435 h 435"/>
                  <a:gd name="T62" fmla="*/ 191 w 435"/>
                  <a:gd name="T63" fmla="*/ 427 h 435"/>
                  <a:gd name="T64" fmla="*/ 220 w 435"/>
                  <a:gd name="T65" fmla="*/ 381 h 435"/>
                  <a:gd name="T66" fmla="*/ 257 w 435"/>
                  <a:gd name="T67" fmla="*/ 377 h 435"/>
                  <a:gd name="T68" fmla="*/ 307 w 435"/>
                  <a:gd name="T69" fmla="*/ 419 h 435"/>
                  <a:gd name="T70" fmla="*/ 348 w 435"/>
                  <a:gd name="T71" fmla="*/ 394 h 435"/>
                  <a:gd name="T72" fmla="*/ 348 w 435"/>
                  <a:gd name="T73" fmla="*/ 386 h 435"/>
                  <a:gd name="T74" fmla="*/ 336 w 435"/>
                  <a:gd name="T75" fmla="*/ 332 h 435"/>
                  <a:gd name="T76" fmla="*/ 356 w 435"/>
                  <a:gd name="T77" fmla="*/ 303 h 435"/>
                  <a:gd name="T78" fmla="*/ 423 w 435"/>
                  <a:gd name="T79" fmla="*/ 299 h 435"/>
                  <a:gd name="T80" fmla="*/ 435 w 435"/>
                  <a:gd name="T81" fmla="*/ 249 h 435"/>
                  <a:gd name="T82" fmla="*/ 431 w 435"/>
                  <a:gd name="T83" fmla="*/ 245 h 435"/>
                  <a:gd name="T84" fmla="*/ 286 w 435"/>
                  <a:gd name="T85" fmla="*/ 236 h 435"/>
                  <a:gd name="T86" fmla="*/ 199 w 435"/>
                  <a:gd name="T87" fmla="*/ 286 h 435"/>
                  <a:gd name="T88" fmla="*/ 149 w 435"/>
                  <a:gd name="T89" fmla="*/ 199 h 435"/>
                  <a:gd name="T90" fmla="*/ 236 w 435"/>
                  <a:gd name="T91" fmla="*/ 149 h 435"/>
                  <a:gd name="T92" fmla="*/ 286 w 435"/>
                  <a:gd name="T93" fmla="*/ 236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35" h="435">
                    <a:moveTo>
                      <a:pt x="431" y="245"/>
                    </a:moveTo>
                    <a:lnTo>
                      <a:pt x="385" y="216"/>
                    </a:lnTo>
                    <a:lnTo>
                      <a:pt x="381" y="178"/>
                    </a:lnTo>
                    <a:lnTo>
                      <a:pt x="423" y="129"/>
                    </a:lnTo>
                    <a:lnTo>
                      <a:pt x="398" y="83"/>
                    </a:lnTo>
                    <a:lnTo>
                      <a:pt x="390" y="83"/>
                    </a:lnTo>
                    <a:lnTo>
                      <a:pt x="336" y="95"/>
                    </a:lnTo>
                    <a:lnTo>
                      <a:pt x="307" y="75"/>
                    </a:lnTo>
                    <a:lnTo>
                      <a:pt x="303" y="13"/>
                    </a:lnTo>
                    <a:lnTo>
                      <a:pt x="253" y="0"/>
                    </a:lnTo>
                    <a:lnTo>
                      <a:pt x="249" y="8"/>
                    </a:lnTo>
                    <a:lnTo>
                      <a:pt x="220" y="54"/>
                    </a:lnTo>
                    <a:lnTo>
                      <a:pt x="182" y="58"/>
                    </a:lnTo>
                    <a:lnTo>
                      <a:pt x="133" y="17"/>
                    </a:lnTo>
                    <a:lnTo>
                      <a:pt x="91" y="42"/>
                    </a:lnTo>
                    <a:lnTo>
                      <a:pt x="91" y="50"/>
                    </a:lnTo>
                    <a:lnTo>
                      <a:pt x="104" y="104"/>
                    </a:lnTo>
                    <a:lnTo>
                      <a:pt x="83" y="133"/>
                    </a:lnTo>
                    <a:lnTo>
                      <a:pt x="21" y="137"/>
                    </a:lnTo>
                    <a:lnTo>
                      <a:pt x="0" y="187"/>
                    </a:lnTo>
                    <a:lnTo>
                      <a:pt x="8" y="191"/>
                    </a:lnTo>
                    <a:lnTo>
                      <a:pt x="54" y="220"/>
                    </a:lnTo>
                    <a:lnTo>
                      <a:pt x="58" y="257"/>
                    </a:lnTo>
                    <a:lnTo>
                      <a:pt x="21" y="303"/>
                    </a:lnTo>
                    <a:cubicBezTo>
                      <a:pt x="25" y="311"/>
                      <a:pt x="25" y="319"/>
                      <a:pt x="29" y="328"/>
                    </a:cubicBezTo>
                    <a:lnTo>
                      <a:pt x="41" y="352"/>
                    </a:lnTo>
                    <a:lnTo>
                      <a:pt x="50" y="352"/>
                    </a:lnTo>
                    <a:lnTo>
                      <a:pt x="104" y="340"/>
                    </a:lnTo>
                    <a:lnTo>
                      <a:pt x="133" y="361"/>
                    </a:lnTo>
                    <a:lnTo>
                      <a:pt x="137" y="423"/>
                    </a:lnTo>
                    <a:lnTo>
                      <a:pt x="186" y="435"/>
                    </a:lnTo>
                    <a:lnTo>
                      <a:pt x="191" y="427"/>
                    </a:lnTo>
                    <a:lnTo>
                      <a:pt x="220" y="381"/>
                    </a:lnTo>
                    <a:lnTo>
                      <a:pt x="257" y="377"/>
                    </a:lnTo>
                    <a:lnTo>
                      <a:pt x="307" y="419"/>
                    </a:lnTo>
                    <a:lnTo>
                      <a:pt x="348" y="394"/>
                    </a:lnTo>
                    <a:lnTo>
                      <a:pt x="348" y="386"/>
                    </a:lnTo>
                    <a:lnTo>
                      <a:pt x="336" y="332"/>
                    </a:lnTo>
                    <a:lnTo>
                      <a:pt x="356" y="303"/>
                    </a:lnTo>
                    <a:lnTo>
                      <a:pt x="423" y="299"/>
                    </a:lnTo>
                    <a:lnTo>
                      <a:pt x="435" y="249"/>
                    </a:lnTo>
                    <a:lnTo>
                      <a:pt x="431" y="245"/>
                    </a:lnTo>
                    <a:close/>
                    <a:moveTo>
                      <a:pt x="286" y="236"/>
                    </a:moveTo>
                    <a:cubicBezTo>
                      <a:pt x="278" y="274"/>
                      <a:pt x="236" y="294"/>
                      <a:pt x="199" y="286"/>
                    </a:cubicBezTo>
                    <a:cubicBezTo>
                      <a:pt x="162" y="278"/>
                      <a:pt x="141" y="236"/>
                      <a:pt x="149" y="199"/>
                    </a:cubicBezTo>
                    <a:cubicBezTo>
                      <a:pt x="157" y="162"/>
                      <a:pt x="199" y="137"/>
                      <a:pt x="236" y="149"/>
                    </a:cubicBezTo>
                    <a:cubicBezTo>
                      <a:pt x="274" y="162"/>
                      <a:pt x="294" y="199"/>
                      <a:pt x="286" y="236"/>
                    </a:cubicBezTo>
                    <a:close/>
                  </a:path>
                </a:pathLst>
              </a:custGeom>
              <a:solidFill>
                <a:srgbClr val="006FD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6170" tIns="38085" rIns="76170" bIns="3808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1437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99" b="0" i="0" u="none" strike="noStrike" kern="120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21" name="Group 20"/>
          <p:cNvGrpSpPr/>
          <p:nvPr/>
        </p:nvGrpSpPr>
        <p:grpSpPr>
          <a:xfrm>
            <a:off x="5495852" y="2519072"/>
            <a:ext cx="597549" cy="568564"/>
            <a:chOff x="7154936" y="5829940"/>
            <a:chExt cx="717339" cy="682544"/>
          </a:xfrm>
        </p:grpSpPr>
        <p:sp>
          <p:nvSpPr>
            <p:cNvPr id="52" name="TextBox 51"/>
            <p:cNvSpPr txBox="1"/>
            <p:nvPr/>
          </p:nvSpPr>
          <p:spPr>
            <a:xfrm>
              <a:off x="7154936" y="6346285"/>
              <a:ext cx="717339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2591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292929">
                          <a:lumMod val="90000"/>
                          <a:lumOff val="10000"/>
                        </a:srgbClr>
                      </a:gs>
                      <a:gs pos="86000">
                        <a:srgbClr val="292929">
                          <a:lumMod val="90000"/>
                          <a:lumOff val="10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torage</a:t>
              </a: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pic>
          <p:nvPicPr>
            <p:cNvPr id="149" name="Picture 14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289513" y="5829940"/>
              <a:ext cx="448185" cy="384829"/>
            </a:xfrm>
            <a:prstGeom prst="rect">
              <a:avLst/>
            </a:prstGeom>
          </p:spPr>
        </p:pic>
      </p:grpSp>
      <p:grpSp>
        <p:nvGrpSpPr>
          <p:cNvPr id="22" name="Group 21"/>
          <p:cNvGrpSpPr/>
          <p:nvPr/>
        </p:nvGrpSpPr>
        <p:grpSpPr>
          <a:xfrm>
            <a:off x="6583026" y="2473100"/>
            <a:ext cx="650019" cy="621232"/>
            <a:chOff x="8041190" y="5766714"/>
            <a:chExt cx="780327" cy="745770"/>
          </a:xfrm>
        </p:grpSpPr>
        <p:sp>
          <p:nvSpPr>
            <p:cNvPr id="53" name="TextBox 52"/>
            <p:cNvSpPr txBox="1"/>
            <p:nvPr/>
          </p:nvSpPr>
          <p:spPr>
            <a:xfrm>
              <a:off x="8041190" y="6346285"/>
              <a:ext cx="780327" cy="166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2591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292929">
                          <a:lumMod val="90000"/>
                          <a:lumOff val="10000"/>
                        </a:srgbClr>
                      </a:gs>
                      <a:gs pos="86000">
                        <a:srgbClr val="292929">
                          <a:lumMod val="90000"/>
                          <a:lumOff val="10000"/>
                        </a:srgb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QL DB  </a:t>
              </a: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pic>
          <p:nvPicPr>
            <p:cNvPr id="158" name="Picture 15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253375" y="5766714"/>
              <a:ext cx="339579" cy="448056"/>
            </a:xfrm>
            <a:prstGeom prst="rect">
              <a:avLst/>
            </a:prstGeom>
          </p:spPr>
        </p:pic>
      </p:grpSp>
      <p:cxnSp>
        <p:nvCxnSpPr>
          <p:cNvPr id="115" name="2   Arrow fg"/>
          <p:cNvCxnSpPr/>
          <p:nvPr/>
        </p:nvCxnSpPr>
        <p:spPr>
          <a:xfrm flipH="1" flipV="1">
            <a:off x="3180650" y="3313454"/>
            <a:ext cx="606448" cy="11191"/>
          </a:xfrm>
          <a:prstGeom prst="straightConnector1">
            <a:avLst/>
          </a:prstGeom>
          <a:noFill/>
          <a:ln w="31750" cap="flat" cmpd="sng" algn="ctr">
            <a:solidFill>
              <a:schemeClr val="accent1">
                <a:lumMod val="50000"/>
              </a:schemeClr>
            </a:solidFill>
            <a:prstDash val="solid"/>
            <a:headEnd type="stealth" w="lg" len="med"/>
            <a:tailEnd type="stealth" w="lg" len="med"/>
          </a:ln>
          <a:effectLst/>
        </p:spPr>
      </p:cxnSp>
      <p:pic>
        <p:nvPicPr>
          <p:cNvPr id="116" name="Picture 2" descr="Image result for tv display icons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8473" y="1774181"/>
            <a:ext cx="976809" cy="808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8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840599" y="2138386"/>
            <a:ext cx="611753" cy="505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2" descr="Image result for tv display icons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459" y="2922422"/>
            <a:ext cx="976809" cy="808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" name="Picture 8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815585" y="3286628"/>
            <a:ext cx="611753" cy="505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0" name="2   Arrow fg"/>
          <p:cNvCxnSpPr/>
          <p:nvPr/>
        </p:nvCxnSpPr>
        <p:spPr>
          <a:xfrm flipH="1" flipV="1">
            <a:off x="3169278" y="2156111"/>
            <a:ext cx="606448" cy="11191"/>
          </a:xfrm>
          <a:prstGeom prst="straightConnector1">
            <a:avLst/>
          </a:prstGeom>
          <a:noFill/>
          <a:ln w="31750" cap="flat" cmpd="sng" algn="ctr">
            <a:solidFill>
              <a:schemeClr val="accent1">
                <a:lumMod val="50000"/>
              </a:schemeClr>
            </a:solidFill>
            <a:prstDash val="solid"/>
            <a:headEnd type="stealth" w="lg" len="med"/>
            <a:tailEnd type="stealth" w="lg" len="med"/>
          </a:ln>
          <a:effectLst/>
        </p:spPr>
      </p:cxnSp>
      <p:cxnSp>
        <p:nvCxnSpPr>
          <p:cNvPr id="121" name="2   Arrow fg"/>
          <p:cNvCxnSpPr/>
          <p:nvPr/>
        </p:nvCxnSpPr>
        <p:spPr>
          <a:xfrm flipH="1" flipV="1">
            <a:off x="3196564" y="4297987"/>
            <a:ext cx="606448" cy="11191"/>
          </a:xfrm>
          <a:prstGeom prst="straightConnector1">
            <a:avLst/>
          </a:prstGeom>
          <a:noFill/>
          <a:ln w="31750" cap="flat" cmpd="sng" algn="ctr">
            <a:solidFill>
              <a:schemeClr val="accent1">
                <a:lumMod val="50000"/>
              </a:schemeClr>
            </a:solidFill>
            <a:prstDash val="solid"/>
            <a:headEnd type="stealth" w="lg" len="med"/>
            <a:tailEnd type="stealth" w="lg" len="med"/>
          </a:ln>
          <a:effectLst/>
        </p:spPr>
      </p:cxnSp>
      <p:pic>
        <p:nvPicPr>
          <p:cNvPr id="123" name="Picture 2" descr="Image result for tv display icons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9373" y="3920598"/>
            <a:ext cx="976809" cy="808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" name="Picture 8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831499" y="4284804"/>
            <a:ext cx="611753" cy="505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5" name="TextBox 134"/>
          <p:cNvSpPr txBox="1"/>
          <p:nvPr/>
        </p:nvSpPr>
        <p:spPr>
          <a:xfrm>
            <a:off x="2118686" y="5474552"/>
            <a:ext cx="2542781" cy="1615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259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sz="1167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mmunication Protocol </a:t>
            </a:r>
            <a:r>
              <a:rPr kumimoji="0" lang="en-US" sz="1167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- AMQP</a:t>
            </a:r>
            <a:endParaRPr kumimoji="0" lang="en-GB" sz="1167" b="1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292929">
                      <a:lumMod val="90000"/>
                      <a:lumOff val="10000"/>
                    </a:srgbClr>
                  </a:gs>
                  <a:gs pos="86000">
                    <a:srgbClr val="292929">
                      <a:lumMod val="90000"/>
                      <a:lumOff val="10000"/>
                    </a:srgbClr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76" name="Straight Connector 75"/>
          <p:cNvCxnSpPr/>
          <p:nvPr/>
        </p:nvCxnSpPr>
        <p:spPr>
          <a:xfrm>
            <a:off x="0" y="547181"/>
            <a:ext cx="12187238" cy="0"/>
          </a:xfrm>
          <a:prstGeom prst="line">
            <a:avLst/>
          </a:prstGeom>
          <a:ln w="12700">
            <a:solidFill>
              <a:srgbClr val="0072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2   Arrow fg"/>
          <p:cNvCxnSpPr/>
          <p:nvPr/>
        </p:nvCxnSpPr>
        <p:spPr>
          <a:xfrm flipH="1">
            <a:off x="4218237" y="1222169"/>
            <a:ext cx="1149346" cy="5029"/>
          </a:xfrm>
          <a:prstGeom prst="straightConnector1">
            <a:avLst/>
          </a:prstGeom>
          <a:noFill/>
          <a:ln w="31750" cap="flat" cmpd="sng" algn="ctr">
            <a:solidFill>
              <a:schemeClr val="accent1"/>
            </a:solidFill>
            <a:prstDash val="sysDash"/>
            <a:headEnd type="stealth" w="lg" len="med"/>
            <a:tailEnd type="none" w="med" len="med"/>
          </a:ln>
          <a:effectLst/>
        </p:spPr>
      </p:cxnSp>
      <p:cxnSp>
        <p:nvCxnSpPr>
          <p:cNvPr id="88" name="2   Arrow fg"/>
          <p:cNvCxnSpPr/>
          <p:nvPr/>
        </p:nvCxnSpPr>
        <p:spPr>
          <a:xfrm flipV="1">
            <a:off x="5998872" y="1683432"/>
            <a:ext cx="0" cy="483870"/>
          </a:xfrm>
          <a:prstGeom prst="straightConnector1">
            <a:avLst/>
          </a:prstGeom>
          <a:noFill/>
          <a:ln w="31750" cap="flat" cmpd="sng" algn="ctr">
            <a:solidFill>
              <a:schemeClr val="accent1"/>
            </a:solidFill>
            <a:prstDash val="sysDash"/>
            <a:headEnd type="stealth" w="lg" len="med"/>
            <a:tailEnd type="none" w="med" len="med"/>
          </a:ln>
          <a:effectLst/>
        </p:spPr>
      </p:cxnSp>
      <p:cxnSp>
        <p:nvCxnSpPr>
          <p:cNvPr id="20" name="Straight Connector 19"/>
          <p:cNvCxnSpPr/>
          <p:nvPr/>
        </p:nvCxnSpPr>
        <p:spPr>
          <a:xfrm>
            <a:off x="4245160" y="1225254"/>
            <a:ext cx="1" cy="615885"/>
          </a:xfrm>
          <a:prstGeom prst="line">
            <a:avLst/>
          </a:prstGeom>
          <a:ln w="25400">
            <a:prstDash val="sys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/>
          <p:nvPr/>
        </p:nvCxnSpPr>
        <p:spPr>
          <a:xfrm>
            <a:off x="7422649" y="3004485"/>
            <a:ext cx="1332657" cy="852090"/>
          </a:xfrm>
          <a:prstGeom prst="bentConnector3">
            <a:avLst/>
          </a:prstGeom>
          <a:ln w="28575">
            <a:solidFill>
              <a:srgbClr val="92D05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Elbow Connector 32"/>
          <p:cNvCxnSpPr/>
          <p:nvPr/>
        </p:nvCxnSpPr>
        <p:spPr>
          <a:xfrm rot="10800000">
            <a:off x="4666193" y="3765840"/>
            <a:ext cx="2346753" cy="261842"/>
          </a:xfrm>
          <a:prstGeom prst="bentConnector3">
            <a:avLst/>
          </a:prstGeom>
          <a:ln w="28575">
            <a:solidFill>
              <a:schemeClr val="accent6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/>
        </p:nvCxnSpPr>
        <p:spPr>
          <a:xfrm>
            <a:off x="6984868" y="4003781"/>
            <a:ext cx="0" cy="406520"/>
          </a:xfrm>
          <a:prstGeom prst="line">
            <a:avLst/>
          </a:prstGeom>
          <a:ln w="25400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Box 127"/>
          <p:cNvSpPr txBox="1"/>
          <p:nvPr/>
        </p:nvSpPr>
        <p:spPr>
          <a:xfrm>
            <a:off x="4252436" y="1010825"/>
            <a:ext cx="1186198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2956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1100" i="1" kern="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5. Device Data</a:t>
            </a:r>
            <a:endParaRPr lang="en-GB" sz="1100" i="1" kern="0" dirty="0">
              <a:gradFill>
                <a:gsLst>
                  <a:gs pos="0">
                    <a:srgbClr val="292929">
                      <a:lumMod val="90000"/>
                      <a:lumOff val="10000"/>
                    </a:srgbClr>
                  </a:gs>
                  <a:gs pos="86000">
                    <a:srgbClr val="292929">
                      <a:lumMod val="90000"/>
                      <a:lumOff val="10000"/>
                    </a:srgbClr>
                  </a:gs>
                </a:gsLst>
                <a:lin ang="5400000" scaled="0"/>
              </a:gradFill>
              <a:cs typeface="Segoe UI" panose="020B0502040204020203" pitchFamily="34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6053652" y="1823468"/>
            <a:ext cx="1186198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2956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1100" i="1" kern="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6. Stores</a:t>
            </a:r>
            <a:r>
              <a:rPr lang="en-US" sz="1000" i="1" kern="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100" i="1" kern="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Telemetry</a:t>
            </a:r>
            <a:endParaRPr lang="en-GB" sz="1100" i="1" kern="0" dirty="0">
              <a:gradFill>
                <a:gsLst>
                  <a:gs pos="0">
                    <a:srgbClr val="292929">
                      <a:lumMod val="90000"/>
                      <a:lumOff val="10000"/>
                    </a:srgbClr>
                  </a:gs>
                  <a:gs pos="86000">
                    <a:srgbClr val="292929">
                      <a:lumMod val="90000"/>
                      <a:lumOff val="10000"/>
                    </a:srgbClr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7495054" y="2470779"/>
            <a:ext cx="1294574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2956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GB" sz="1100" i="1" kern="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1. Read /Write Data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7280982" y="3954826"/>
            <a:ext cx="1096977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2956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GB" sz="1100" i="1" kern="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2. Read Data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4815621" y="3585549"/>
            <a:ext cx="1864941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2956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1100" i="1" kern="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3. Web job sends Message</a:t>
            </a:r>
            <a:endParaRPr lang="en-GB" sz="1100" i="1" kern="0" dirty="0">
              <a:gradFill>
                <a:gsLst>
                  <a:gs pos="0">
                    <a:srgbClr val="292929">
                      <a:lumMod val="90000"/>
                      <a:lumOff val="10000"/>
                    </a:srgbClr>
                  </a:gs>
                  <a:gs pos="86000">
                    <a:srgbClr val="292929">
                      <a:lumMod val="90000"/>
                      <a:lumOff val="10000"/>
                    </a:srgbClr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7495452" y="2853017"/>
            <a:ext cx="1096977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2956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GB" sz="1100" i="1" kern="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4. Read Data</a:t>
            </a:r>
          </a:p>
        </p:txBody>
      </p:sp>
      <p:pic>
        <p:nvPicPr>
          <p:cNvPr id="67" name="Picture 2" descr="Image result for azure DPS service icon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1483" y="3767510"/>
            <a:ext cx="725994" cy="464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TextBox 67"/>
          <p:cNvSpPr txBox="1"/>
          <p:nvPr/>
        </p:nvSpPr>
        <p:spPr>
          <a:xfrm>
            <a:off x="3908803" y="4316612"/>
            <a:ext cx="6290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100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DPS</a:t>
            </a:r>
            <a:endParaRPr lang="en-GB" sz="1000" dirty="0">
              <a:gradFill>
                <a:gsLst>
                  <a:gs pos="0">
                    <a:srgbClr val="292929">
                      <a:lumMod val="90000"/>
                      <a:lumOff val="10000"/>
                    </a:srgbClr>
                  </a:gs>
                  <a:gs pos="86000">
                    <a:srgbClr val="292929">
                      <a:lumMod val="90000"/>
                      <a:lumOff val="10000"/>
                    </a:srgbClr>
                  </a:gs>
                </a:gsLst>
                <a:lin ang="5400000" scaled="0"/>
              </a:gra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420332" y="1106553"/>
            <a:ext cx="1150822" cy="1938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2956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GB" sz="1400" b="1" i="1" kern="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cs typeface="Segoe UI" panose="020B0502040204020203" pitchFamily="34" charset="0"/>
              </a:rPr>
              <a:t>(Optional)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5519637" y="5241998"/>
            <a:ext cx="56665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2591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GB" sz="1000" kern="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API App (Node </a:t>
            </a:r>
            <a:r>
              <a:rPr lang="en-GB" sz="1000" kern="0" dirty="0" err="1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Js</a:t>
            </a:r>
            <a:r>
              <a:rPr lang="en-GB" sz="1000" kern="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</a:p>
        </p:txBody>
      </p:sp>
      <p:pic>
        <p:nvPicPr>
          <p:cNvPr id="72" name="Picture 7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0067" y="4713321"/>
            <a:ext cx="530246" cy="454695"/>
          </a:xfrm>
          <a:prstGeom prst="rect">
            <a:avLst/>
          </a:prstGeom>
        </p:spPr>
      </p:pic>
      <p:cxnSp>
        <p:nvCxnSpPr>
          <p:cNvPr id="74" name="Elbow Connector 73"/>
          <p:cNvCxnSpPr/>
          <p:nvPr/>
        </p:nvCxnSpPr>
        <p:spPr>
          <a:xfrm rot="16200000" flipH="1">
            <a:off x="3815591" y="3974045"/>
            <a:ext cx="492114" cy="1951993"/>
          </a:xfrm>
          <a:prstGeom prst="bentConnector2">
            <a:avLst/>
          </a:prstGeom>
          <a:ln w="28575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3134323" y="5040646"/>
            <a:ext cx="1681298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2956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GB" sz="1100" i="1" kern="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7. DPS Stick provision calls</a:t>
            </a:r>
          </a:p>
        </p:txBody>
      </p:sp>
      <p:cxnSp>
        <p:nvCxnSpPr>
          <p:cNvPr id="78" name="Elbow Connector 77"/>
          <p:cNvCxnSpPr/>
          <p:nvPr/>
        </p:nvCxnSpPr>
        <p:spPr>
          <a:xfrm>
            <a:off x="4658437" y="4148411"/>
            <a:ext cx="402667" cy="684598"/>
          </a:xfrm>
          <a:prstGeom prst="bentConnector3">
            <a:avLst>
              <a:gd name="adj1" fmla="val 50000"/>
            </a:avLst>
          </a:prstGeom>
          <a:ln w="28575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2 Device"/>
          <p:cNvSpPr txBox="1"/>
          <p:nvPr/>
        </p:nvSpPr>
        <p:spPr>
          <a:xfrm>
            <a:off x="8297136" y="5782514"/>
            <a:ext cx="1581155" cy="65849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lIns="0" tIns="89608" rIns="0" bIns="89608" rtlCol="0" anchor="ctr">
            <a:noAutofit/>
          </a:bodyPr>
          <a:lstStyle>
            <a:defPPr>
              <a:defRPr lang="en-US"/>
            </a:defPPr>
            <a:lvl1pPr defTabSz="932597">
              <a:defRPr sz="1600">
                <a:solidFill>
                  <a:schemeClr val="bg2"/>
                </a:solidFill>
              </a:defRPr>
            </a:lvl1pPr>
          </a:lstStyle>
          <a:p>
            <a:pPr algn="ctr" defTabSz="776822">
              <a:defRPr/>
            </a:pPr>
            <a:r>
              <a:rPr lang="en-US" sz="1167" dirty="0">
                <a:latin typeface="Segoe UI" panose="020B0502040204020203" pitchFamily="34" charset="0"/>
                <a:cs typeface="Segoe UI" panose="020B0502040204020203" pitchFamily="34" charset="0"/>
              </a:rPr>
              <a:t>Presentation</a:t>
            </a:r>
          </a:p>
        </p:txBody>
      </p:sp>
    </p:spTree>
    <p:extLst>
      <p:ext uri="{BB962C8B-B14F-4D97-AF65-F5344CB8AC3E}">
        <p14:creationId xmlns:p14="http://schemas.microsoft.com/office/powerpoint/2010/main" val="434462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HuJ9aGp0eKlNQhVarz5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2qzRu0kWUgQ1PvJ9J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MiwAqcU0KwYu97qUEj7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bXQ8vvqEqk7DvYxgaG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uGUFg2NEWFV0d0uAox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Gmkoeg8km6sdkwNan2s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rl7dyKJUy.5RAwoOiSu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RAYLZcJ0exdKhgpj8y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M8Er7ix0CTzUlVejuX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HdmBbreUqd5CCuy6fGV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4LNgNmvESQzNfjKQ8j0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5QPmGWl0qBxLFGALli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l2UPgNfU.cnyD3IdgI8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o20z327keNQv2vkIkuI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t0vXrkUetEwlJU_xbR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9s6cQ3TEmuj0QbVWYJ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BWF9AbHka6m_UGZJFx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m.Jc5qL0C8b.KDEoZoB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lEG4sYTEGRoSUrshYUw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pR0fq0.U2uSs529LAx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nmFzmX1kad6_8ud1pQz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M.nQIDnEyhZN4StTD9Q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kzYppa5U2lM0EKguNbP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2Rgl10O10uz9.tPfaR42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oOKlKBq0e_hH6Ae31Oy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Yf.L9svkyRhLC2EEj_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uUR8PuUEOol.18EzXc_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u1.yrFsk6gpL.9Sw_P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7vp82_z0iHZVYpzenj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DIn4eA3028iYg4tqi_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AxCXKGOkKQW1miIihT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30504_S4_Breakout_Template_WHT">
  <a:themeElements>
    <a:clrScheme name="S4 White">
      <a:dk1>
        <a:srgbClr val="505050"/>
      </a:dk1>
      <a:lt1>
        <a:srgbClr val="FFFFFF"/>
      </a:lt1>
      <a:dk2>
        <a:srgbClr val="0072C6"/>
      </a:dk2>
      <a:lt2>
        <a:srgbClr val="D2D2D2"/>
      </a:lt2>
      <a:accent1>
        <a:srgbClr val="0072C6"/>
      </a:accent1>
      <a:accent2>
        <a:srgbClr val="00188F"/>
      </a:accent2>
      <a:accent3>
        <a:srgbClr val="442359"/>
      </a:accent3>
      <a:accent4>
        <a:srgbClr val="008A00"/>
      </a:accent4>
      <a:accent5>
        <a:srgbClr val="00BCF2"/>
      </a:accent5>
      <a:accent6>
        <a:srgbClr val="FFB900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638D97C-4462-432D-93E4-E68AD0773CFC}" vid="{BA36B68A-DB9E-4994-BA6A-448156A0C7EC}"/>
    </a:ext>
  </a:extLst>
</a:theme>
</file>

<file path=ppt/theme/theme2.xml><?xml version="1.0" encoding="utf-8"?>
<a:theme xmlns:a="http://schemas.openxmlformats.org/drawingml/2006/main" name="Internal Group_White with Blue accent_16x9_2013-06">
  <a:themeElements>
    <a:clrScheme name="Custom 6">
      <a:dk1>
        <a:srgbClr val="505050"/>
      </a:dk1>
      <a:lt1>
        <a:srgbClr val="FFFFFF"/>
      </a:lt1>
      <a:dk2>
        <a:srgbClr val="002050"/>
      </a:dk2>
      <a:lt2>
        <a:srgbClr val="00BCF2"/>
      </a:lt2>
      <a:accent1>
        <a:srgbClr val="0072C6"/>
      </a:accent1>
      <a:accent2>
        <a:srgbClr val="E81123"/>
      </a:accent2>
      <a:accent3>
        <a:srgbClr val="002050"/>
      </a:accent3>
      <a:accent4>
        <a:srgbClr val="B4009E"/>
      </a:accent4>
      <a:accent5>
        <a:srgbClr val="4668C5"/>
      </a:accent5>
      <a:accent6>
        <a:srgbClr val="008272"/>
      </a:accent6>
      <a:hlink>
        <a:srgbClr val="0072C6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nternal_Group_template_16-9_WHITE_Blue_accents_2013" id="{24136D76-D787-4232-BBAE-4E5C0F4CB86A}" vid="{D97E6118-EA98-479C-AEAE-6DE96F5267BD}"/>
    </a:ext>
  </a:extLst>
</a:theme>
</file>

<file path=ppt/theme/theme3.xml><?xml version="1.0" encoding="utf-8"?>
<a:theme xmlns:a="http://schemas.openxmlformats.org/drawingml/2006/main" name="1_5-30504_S4_Breakout_Template_WHT">
  <a:themeElements>
    <a:clrScheme name="S4 White">
      <a:dk1>
        <a:srgbClr val="505050"/>
      </a:dk1>
      <a:lt1>
        <a:srgbClr val="FFFFFF"/>
      </a:lt1>
      <a:dk2>
        <a:srgbClr val="0072C6"/>
      </a:dk2>
      <a:lt2>
        <a:srgbClr val="D2D2D2"/>
      </a:lt2>
      <a:accent1>
        <a:srgbClr val="0072C6"/>
      </a:accent1>
      <a:accent2>
        <a:srgbClr val="00188F"/>
      </a:accent2>
      <a:accent3>
        <a:srgbClr val="442359"/>
      </a:accent3>
      <a:accent4>
        <a:srgbClr val="008A00"/>
      </a:accent4>
      <a:accent5>
        <a:srgbClr val="00BCF2"/>
      </a:accent5>
      <a:accent6>
        <a:srgbClr val="FFB900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638D97C-4462-432D-93E4-E68AD0773CFC}" vid="{BA36B68A-DB9E-4994-BA6A-448156A0C7EC}"/>
    </a:ext>
  </a:extLst>
</a:theme>
</file>

<file path=ppt/theme/theme4.xml><?xml version="1.0" encoding="utf-8"?>
<a:theme xmlns:a="http://schemas.openxmlformats.org/drawingml/2006/main" name="SharePoint 15">
  <a:themeElements>
    <a:clrScheme name="Exchange-Lync-SharePoint_Template_2012_Light">
      <a:dk1>
        <a:srgbClr val="000000"/>
      </a:dk1>
      <a:lt1>
        <a:srgbClr val="FFFFFF"/>
      </a:lt1>
      <a:dk2>
        <a:srgbClr val="0072C6"/>
      </a:dk2>
      <a:lt2>
        <a:srgbClr val="797A7D"/>
      </a:lt2>
      <a:accent1>
        <a:srgbClr val="0072C6"/>
      </a:accent1>
      <a:accent2>
        <a:srgbClr val="EB3C00"/>
      </a:accent2>
      <a:accent3>
        <a:srgbClr val="FFB900"/>
      </a:accent3>
      <a:accent4>
        <a:srgbClr val="505050"/>
      </a:accent4>
      <a:accent5>
        <a:srgbClr val="969696"/>
      </a:accent5>
      <a:accent6>
        <a:srgbClr val="D2D2D2"/>
      </a:accent6>
      <a:hlink>
        <a:srgbClr val="43AFFF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z="220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400" spc="-70" dirty="0" smtClean="0">
            <a:gradFill>
              <a:gsLst>
                <a:gs pos="2917">
                  <a:schemeClr val="bg2"/>
                </a:gs>
                <a:gs pos="95000">
                  <a:schemeClr val="bg2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harePoint 15" id="{8DA284B3-37D4-4655-81A0-0012C769CC28}" vid="{24B356E4-172F-4823-A434-2D7B9EF63B99}"/>
    </a:ext>
  </a:extLst>
</a:theme>
</file>

<file path=ppt/theme/theme5.xml><?xml version="1.0" encoding="utf-8"?>
<a:theme xmlns:a="http://schemas.openxmlformats.org/drawingml/2006/main" name="FY15 Enterprise identity theme">
  <a:themeElements>
    <a:clrScheme name="FY15 Enterprise Visual Identity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5 EPG Presentation Template_16x9_Light_042914" id="{F3AC482D-D5FE-4C12-8E0E-EA8972E3C93B}" vid="{33523C68-E248-4A1F-A64D-A892E9B2A2BC}"/>
    </a:ext>
  </a:extLst>
</a:theme>
</file>

<file path=ppt/theme/theme6.xml><?xml version="1.0" encoding="utf-8"?>
<a:theme xmlns:a="http://schemas.openxmlformats.org/drawingml/2006/main" name="Metro Template Colored Titles Segoe UI 16x9">
  <a:themeElements>
    <a:clrScheme name="Microsoft Colors">
      <a:dk1>
        <a:srgbClr val="000000"/>
      </a:dk1>
      <a:lt1>
        <a:srgbClr val="FFFFFF"/>
      </a:lt1>
      <a:dk2>
        <a:srgbClr val="3F3F3F"/>
      </a:dk2>
      <a:lt2>
        <a:srgbClr val="F2F2F2"/>
      </a:lt2>
      <a:accent1>
        <a:srgbClr val="00AEEF"/>
      </a:accent1>
      <a:accent2>
        <a:srgbClr val="8CC600"/>
      </a:accent2>
      <a:accent3>
        <a:srgbClr val="FF8A00"/>
      </a:accent3>
      <a:accent4>
        <a:srgbClr val="FF0097"/>
      </a:accent4>
      <a:accent5>
        <a:srgbClr val="0071BC"/>
      </a:accent5>
      <a:accent6>
        <a:srgbClr val="910091"/>
      </a:accent6>
      <a:hlink>
        <a:srgbClr val="0070C0"/>
      </a:hlink>
      <a:folHlink>
        <a:srgbClr val="0071BC"/>
      </a:folHlink>
    </a:clrScheme>
    <a:fontScheme name="Microsoft Corporate Font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defTabSz="914099" fontAlgn="base">
          <a:spcBef>
            <a:spcPct val="0"/>
          </a:spcBef>
          <a:spcAft>
            <a:spcPct val="0"/>
          </a:spcAft>
          <a:defRPr spc="-5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latin typeface="Segoe UI" pitchFamily="34" charset="0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4000" dirty="0" err="1" smtClean="0">
            <a:gradFill>
              <a:gsLst>
                <a:gs pos="0">
                  <a:schemeClr val="tx1"/>
                </a:gs>
                <a:gs pos="86000">
                  <a:schemeClr val="tx1"/>
                </a:gs>
              </a:gsLst>
              <a:lin ang="5400000" scaled="0"/>
            </a:gradFill>
            <a:latin typeface="Segoe UI Light" pitchFamily="34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C024BE11E0FB54CA81ACD276484B4B7" ma:contentTypeVersion="3" ma:contentTypeDescription="Create a new document." ma:contentTypeScope="" ma:versionID="aa1287e6a78a6f077b5aca4c8635f9cf">
  <xsd:schema xmlns:xsd="http://www.w3.org/2001/XMLSchema" xmlns:xs="http://www.w3.org/2001/XMLSchema" xmlns:p="http://schemas.microsoft.com/office/2006/metadata/properties" xmlns:ns2="c8bd1c83-3aa0-4ff6-8c48-66b484b47652" targetNamespace="http://schemas.microsoft.com/office/2006/metadata/properties" ma:root="true" ma:fieldsID="7c69f578d8c0b10475199ad349d3d4b6" ns2:_="">
    <xsd:import namespace="c8bd1c83-3aa0-4ff6-8c48-66b484b4765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bd1c83-3aa0-4ff6-8c48-66b484b4765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pc="http://schemas.microsoft.com/office/infopath/2007/PartnerControls" xmlns:xsi="http://www.w3.org/2001/XMLSchema-instance">
  <documentManagement>
    <SharedWithUsers xmlns="c8bd1c83-3aa0-4ff6-8c48-66b484b47652">
      <UserInfo>
        <DisplayName>Joe Hsu</DisplayName>
        <AccountId>3615</AccountId>
        <AccountType/>
      </UserInfo>
      <UserInfo>
        <DisplayName>Kevin Fleck</DisplayName>
        <AccountId>82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1BECA2A-7D03-4A72-AA13-67C5F8D77AA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8bd1c83-3aa0-4ff6-8c48-66b484b476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5210E08-BB99-4E07-9622-66E6884FFA5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8533B1A-E21A-46F9-AC26-B7BF9E78CFB2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c8bd1c83-3aa0-4ff6-8c48-66b484b47652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utomotive</Template>
  <TotalTime>0</TotalTime>
  <Words>273</Words>
  <Application>Microsoft Office PowerPoint</Application>
  <PresentationFormat>Custom</PresentationFormat>
  <Paragraphs>85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7" baseType="lpstr">
      <vt:lpstr>Arial</vt:lpstr>
      <vt:lpstr>Calibri</vt:lpstr>
      <vt:lpstr>Consolas</vt:lpstr>
      <vt:lpstr>Courier New</vt:lpstr>
      <vt:lpstr>Segoe UI</vt:lpstr>
      <vt:lpstr>Segoe UI Light</vt:lpstr>
      <vt:lpstr>Wingdings</vt:lpstr>
      <vt:lpstr>5-30504_S4_Breakout_Template_WHT</vt:lpstr>
      <vt:lpstr>Internal Group_White with Blue accent_16x9_2013-06</vt:lpstr>
      <vt:lpstr>1_5-30504_S4_Breakout_Template_WHT</vt:lpstr>
      <vt:lpstr>SharePoint 15</vt:lpstr>
      <vt:lpstr>FY15 Enterprise identity theme</vt:lpstr>
      <vt:lpstr>Metro Template Colored Titles Segoe UI 16x9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3</cp:revision>
  <dcterms:created xsi:type="dcterms:W3CDTF">2014-06-02T17:42:53Z</dcterms:created>
  <dcterms:modified xsi:type="dcterms:W3CDTF">2018-04-19T03:24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C024BE11E0FB54CA81ACD276484B4B7</vt:lpwstr>
  </property>
  <property fmtid="{D5CDD505-2E9C-101B-9397-08002B2CF9AE}" pid="3" name="IsMyDocuments">
    <vt:bool>true</vt:bool>
  </property>
  <property fmtid="{D5CDD505-2E9C-101B-9397-08002B2CF9AE}" pid="4" name="DocVizMetadataToken">
    <vt:lpwstr>300x169x1</vt:lpwstr>
  </property>
  <property fmtid="{D5CDD505-2E9C-101B-9397-08002B2CF9AE}" pid="5" name="TaxKeyword">
    <vt:lpwstr/>
  </property>
  <property fmtid="{D5CDD505-2E9C-101B-9397-08002B2CF9AE}" pid="6" name="TaxCatchAll">
    <vt:lpwstr/>
  </property>
  <property fmtid="{D5CDD505-2E9C-101B-9397-08002B2CF9AE}" pid="7" name="TaxKeywordTaxHTField">
    <vt:lpwstr/>
  </property>
  <property fmtid="{D5CDD505-2E9C-101B-9397-08002B2CF9AE}" pid="8" name="DocVizPreviewMetadata_Count">
    <vt:i4>19</vt:i4>
  </property>
  <property fmtid="{D5CDD505-2E9C-101B-9397-08002B2CF9AE}" pid="9" name="DocVizPreviewMetadata_0">
    <vt:lpwstr>300x168x1</vt:lpwstr>
  </property>
  <property fmtid="{D5CDD505-2E9C-101B-9397-08002B2CF9AE}" pid="10" name="MSIP_Label_f42aa342-8706-4288-bd11-ebb85995028c_Enabled">
    <vt:lpwstr>True</vt:lpwstr>
  </property>
  <property fmtid="{D5CDD505-2E9C-101B-9397-08002B2CF9AE}" pid="11" name="MSIP_Label_f42aa342-8706-4288-bd11-ebb85995028c_SiteId">
    <vt:lpwstr>72f988bf-86f1-41af-91ab-2d7cd011db47</vt:lpwstr>
  </property>
  <property fmtid="{D5CDD505-2E9C-101B-9397-08002B2CF9AE}" pid="12" name="MSIP_Label_f42aa342-8706-4288-bd11-ebb85995028c_Owner">
    <vt:lpwstr>v-andey@microsoft.com</vt:lpwstr>
  </property>
  <property fmtid="{D5CDD505-2E9C-101B-9397-08002B2CF9AE}" pid="13" name="MSIP_Label_f42aa342-8706-4288-bd11-ebb85995028c_SetDate">
    <vt:lpwstr>2018-03-12T17:54:01.1288796Z</vt:lpwstr>
  </property>
  <property fmtid="{D5CDD505-2E9C-101B-9397-08002B2CF9AE}" pid="14" name="MSIP_Label_f42aa342-8706-4288-bd11-ebb85995028c_Name">
    <vt:lpwstr>General</vt:lpwstr>
  </property>
  <property fmtid="{D5CDD505-2E9C-101B-9397-08002B2CF9AE}" pid="15" name="MSIP_Label_f42aa342-8706-4288-bd11-ebb85995028c_Application">
    <vt:lpwstr>Microsoft Azure Information Protection</vt:lpwstr>
  </property>
  <property fmtid="{D5CDD505-2E9C-101B-9397-08002B2CF9AE}" pid="16" name="MSIP_Label_f42aa342-8706-4288-bd11-ebb85995028c_Extended_MSFT_Method">
    <vt:lpwstr>Automatic</vt:lpwstr>
  </property>
  <property fmtid="{D5CDD505-2E9C-101B-9397-08002B2CF9AE}" pid="17" name="MSIP_Label_b9a70571-31c6-4603-80c1-ef2fb871a62a_Enabled">
    <vt:lpwstr>True</vt:lpwstr>
  </property>
  <property fmtid="{D5CDD505-2E9C-101B-9397-08002B2CF9AE}" pid="18" name="MSIP_Label_b9a70571-31c6-4603-80c1-ef2fb871a62a_SiteId">
    <vt:lpwstr>258ac4e4-146a-411e-9dc8-79a9e12fd6da</vt:lpwstr>
  </property>
  <property fmtid="{D5CDD505-2E9C-101B-9397-08002B2CF9AE}" pid="19" name="MSIP_Label_b9a70571-31c6-4603-80c1-ef2fb871a62a_Owner">
    <vt:lpwstr>re246339@wipro.com</vt:lpwstr>
  </property>
  <property fmtid="{D5CDD505-2E9C-101B-9397-08002B2CF9AE}" pid="20" name="MSIP_Label_b9a70571-31c6-4603-80c1-ef2fb871a62a_SetDate">
    <vt:lpwstr>2018-02-24T14:14:45.1595932+05:30</vt:lpwstr>
  </property>
  <property fmtid="{D5CDD505-2E9C-101B-9397-08002B2CF9AE}" pid="21" name="MSIP_Label_b9a70571-31c6-4603-80c1-ef2fb871a62a_Name">
    <vt:lpwstr>Internal and Restricted</vt:lpwstr>
  </property>
  <property fmtid="{D5CDD505-2E9C-101B-9397-08002B2CF9AE}" pid="22" name="MSIP_Label_b9a70571-31c6-4603-80c1-ef2fb871a62a_Application">
    <vt:lpwstr>Microsoft Azure Information Protection</vt:lpwstr>
  </property>
  <property fmtid="{D5CDD505-2E9C-101B-9397-08002B2CF9AE}" pid="23" name="MSIP_Label_b9a70571-31c6-4603-80c1-ef2fb871a62a_Extended_MSFT_Method">
    <vt:lpwstr>Automatic</vt:lpwstr>
  </property>
  <property fmtid="{D5CDD505-2E9C-101B-9397-08002B2CF9AE}" pid="24" name="Sensitivity">
    <vt:lpwstr>General Internal and Restricted</vt:lpwstr>
  </property>
</Properties>
</file>